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3" r:id="rId1"/>
    <p:sldMasterId id="2147483660" r:id="rId2"/>
  </p:sldMasterIdLst>
  <p:notesMasterIdLst>
    <p:notesMasterId r:id="rId12"/>
  </p:notesMasterIdLst>
  <p:handoutMasterIdLst>
    <p:handoutMasterId r:id="rId13"/>
  </p:handoutMasterIdLst>
  <p:sldIdLst>
    <p:sldId id="7348" r:id="rId3"/>
    <p:sldId id="2147470105" r:id="rId4"/>
    <p:sldId id="2147470099" r:id="rId5"/>
    <p:sldId id="2147470108" r:id="rId6"/>
    <p:sldId id="2147470081" r:id="rId7"/>
    <p:sldId id="2147470083" r:id="rId8"/>
    <p:sldId id="2147470094" r:id="rId9"/>
    <p:sldId id="2147470101" r:id="rId10"/>
    <p:sldId id="7349" r:id="rId11"/>
  </p:sldIdLst>
  <p:sldSz cx="9144000" cy="5143500" type="screen16x9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3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3C0699-B2A2-0E3E-BC25-85DCDEF03B3E}" name="Chaurasia, Needhi" initials="CN" userId="S::needhi.chaurasia@abbott.com::b2739bf9-bed8-4839-8e77-9df68cf3244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BE3"/>
    <a:srgbClr val="FEF4F8"/>
    <a:srgbClr val="FACEE1"/>
    <a:srgbClr val="009CDE"/>
    <a:srgbClr val="5BC2E7"/>
    <a:srgbClr val="0000FF"/>
    <a:srgbClr val="002A3A"/>
    <a:srgbClr val="FF66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00B46-7CD7-47D8-B189-9820C218DA81}" v="185" dt="2025-09-03T11:26:15.999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32"/>
        <p:guide pos="221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urasia, Needhi" userId="b2739bf9-bed8-4839-8e77-9df68cf3244e" providerId="ADAL" clId="{730D6B15-5FA8-4B91-BCB2-4C93701B2C12}"/>
    <pc:docChg chg="undo custSel addSld delSld modSld">
      <pc:chgData name="Chaurasia, Needhi" userId="b2739bf9-bed8-4839-8e77-9df68cf3244e" providerId="ADAL" clId="{730D6B15-5FA8-4B91-BCB2-4C93701B2C12}" dt="2025-08-05T11:44:28.069" v="227" actId="207"/>
      <pc:docMkLst>
        <pc:docMk/>
      </pc:docMkLst>
      <pc:sldChg chg="modSp">
        <pc:chgData name="Chaurasia, Needhi" userId="b2739bf9-bed8-4839-8e77-9df68cf3244e" providerId="ADAL" clId="{730D6B15-5FA8-4B91-BCB2-4C93701B2C12}" dt="2025-08-05T11:44:28.069" v="227" actId="207"/>
        <pc:sldMkLst>
          <pc:docMk/>
          <pc:sldMk cId="3764551440" sldId="2147470081"/>
        </pc:sldMkLst>
      </pc:sldChg>
      <pc:sldChg chg="addSp delSp modSp mod">
        <pc:chgData name="Chaurasia, Needhi" userId="b2739bf9-bed8-4839-8e77-9df68cf3244e" providerId="ADAL" clId="{730D6B15-5FA8-4B91-BCB2-4C93701B2C12}" dt="2025-08-05T11:37:19.434" v="60" actId="27918"/>
        <pc:sldMkLst>
          <pc:docMk/>
          <pc:sldMk cId="2716515534" sldId="2147470094"/>
        </pc:sldMkLst>
        <pc:spChg chg="mod">
          <ac:chgData name="Chaurasia, Needhi" userId="b2739bf9-bed8-4839-8e77-9df68cf3244e" providerId="ADAL" clId="{730D6B15-5FA8-4B91-BCB2-4C93701B2C12}" dt="2025-08-05T11:33:38.137" v="17" actId="20577"/>
          <ac:spMkLst>
            <pc:docMk/>
            <pc:sldMk cId="2716515534" sldId="2147470094"/>
            <ac:spMk id="8" creationId="{B8B14BFB-5EBF-DECB-AD8A-347AD784ADB6}"/>
          </ac:spMkLst>
        </pc:spChg>
        <pc:graphicFrameChg chg="mod modGraphic">
          <ac:chgData name="Chaurasia, Needhi" userId="b2739bf9-bed8-4839-8e77-9df68cf3244e" providerId="ADAL" clId="{730D6B15-5FA8-4B91-BCB2-4C93701B2C12}" dt="2025-08-05T11:34:46.559" v="26" actId="113"/>
          <ac:graphicFrameMkLst>
            <pc:docMk/>
            <pc:sldMk cId="2716515534" sldId="2147470094"/>
            <ac:graphicFrameMk id="9" creationId="{CCDB25D3-B895-E476-76CD-360C91F890AA}"/>
          </ac:graphicFrameMkLst>
        </pc:graphicFrameChg>
      </pc:sldChg>
      <pc:sldChg chg="addSp delSp modSp mod">
        <pc:chgData name="Chaurasia, Needhi" userId="b2739bf9-bed8-4839-8e77-9df68cf3244e" providerId="ADAL" clId="{730D6B15-5FA8-4B91-BCB2-4C93701B2C12}" dt="2025-08-05T11:43:21.298" v="225"/>
        <pc:sldMkLst>
          <pc:docMk/>
          <pc:sldMk cId="2067239228" sldId="2147470101"/>
        </pc:sldMkLst>
        <pc:spChg chg="mod">
          <ac:chgData name="Chaurasia, Needhi" userId="b2739bf9-bed8-4839-8e77-9df68cf3244e" providerId="ADAL" clId="{730D6B15-5FA8-4B91-BCB2-4C93701B2C12}" dt="2025-08-05T11:38:41.104" v="84" actId="20577"/>
          <ac:spMkLst>
            <pc:docMk/>
            <pc:sldMk cId="2067239228" sldId="2147470101"/>
            <ac:spMk id="5" creationId="{D823F345-38A0-58D8-14F1-A2B07D4C5434}"/>
          </ac:spMkLst>
        </pc:spChg>
      </pc:sldChg>
      <pc:sldChg chg="add del">
        <pc:chgData name="Chaurasia, Needhi" userId="b2739bf9-bed8-4839-8e77-9df68cf3244e" providerId="ADAL" clId="{730D6B15-5FA8-4B91-BCB2-4C93701B2C12}" dt="2025-08-05T11:37:26.994" v="61" actId="2696"/>
        <pc:sldMkLst>
          <pc:docMk/>
          <pc:sldMk cId="2210479732" sldId="2147470109"/>
        </pc:sldMkLst>
      </pc:sldChg>
      <pc:sldChg chg="add del">
        <pc:chgData name="Chaurasia, Needhi" userId="b2739bf9-bed8-4839-8e77-9df68cf3244e" providerId="ADAL" clId="{730D6B15-5FA8-4B91-BCB2-4C93701B2C12}" dt="2025-08-05T11:43:45.452" v="226" actId="2696"/>
        <pc:sldMkLst>
          <pc:docMk/>
          <pc:sldMk cId="3353888145" sldId="2147470109"/>
        </pc:sldMkLst>
      </pc:sldChg>
    </pc:docChg>
  </pc:docChgLst>
  <pc:docChgLst>
    <pc:chgData name="Chaurasia, Needhi" userId="b2739bf9-bed8-4839-8e77-9df68cf3244e" providerId="ADAL" clId="{26700B46-7CD7-47D8-B189-9820C218DA81}"/>
    <pc:docChg chg="undo custSel addSld delSld modSld">
      <pc:chgData name="Chaurasia, Needhi" userId="b2739bf9-bed8-4839-8e77-9df68cf3244e" providerId="ADAL" clId="{26700B46-7CD7-47D8-B189-9820C218DA81}" dt="2025-09-03T11:33:40.732" v="339" actId="729"/>
      <pc:docMkLst>
        <pc:docMk/>
      </pc:docMkLst>
      <pc:sldChg chg="modSp mod">
        <pc:chgData name="Chaurasia, Needhi" userId="b2739bf9-bed8-4839-8e77-9df68cf3244e" providerId="ADAL" clId="{26700B46-7CD7-47D8-B189-9820C218DA81}" dt="2025-09-03T11:08:26.785" v="5" actId="20577"/>
        <pc:sldMkLst>
          <pc:docMk/>
          <pc:sldMk cId="803041232" sldId="7348"/>
        </pc:sldMkLst>
        <pc:spChg chg="mod">
          <ac:chgData name="Chaurasia, Needhi" userId="b2739bf9-bed8-4839-8e77-9df68cf3244e" providerId="ADAL" clId="{26700B46-7CD7-47D8-B189-9820C218DA81}" dt="2025-09-03T11:08:26.785" v="5" actId="20577"/>
          <ac:spMkLst>
            <pc:docMk/>
            <pc:sldMk cId="803041232" sldId="7348"/>
            <ac:spMk id="12" creationId="{00000000-0000-0000-0000-000000000000}"/>
          </ac:spMkLst>
        </pc:spChg>
      </pc:sldChg>
      <pc:sldChg chg="addSp delSp modSp mod">
        <pc:chgData name="Chaurasia, Needhi" userId="b2739bf9-bed8-4839-8e77-9df68cf3244e" providerId="ADAL" clId="{26700B46-7CD7-47D8-B189-9820C218DA81}" dt="2025-09-03T11:11:16.610" v="42" actId="20577"/>
        <pc:sldMkLst>
          <pc:docMk/>
          <pc:sldMk cId="3764551440" sldId="2147470081"/>
        </pc:sldMkLst>
        <pc:spChg chg="del">
          <ac:chgData name="Chaurasia, Needhi" userId="b2739bf9-bed8-4839-8e77-9df68cf3244e" providerId="ADAL" clId="{26700B46-7CD7-47D8-B189-9820C218DA81}" dt="2025-09-03T11:10:51.454" v="21" actId="478"/>
          <ac:spMkLst>
            <pc:docMk/>
            <pc:sldMk cId="3764551440" sldId="2147470081"/>
            <ac:spMk id="4" creationId="{2FFEE192-6951-F066-2299-9464B9ED2665}"/>
          </ac:spMkLst>
        </pc:spChg>
        <pc:spChg chg="mod">
          <ac:chgData name="Chaurasia, Needhi" userId="b2739bf9-bed8-4839-8e77-9df68cf3244e" providerId="ADAL" clId="{26700B46-7CD7-47D8-B189-9820C218DA81}" dt="2025-09-03T11:11:16.610" v="42" actId="20577"/>
          <ac:spMkLst>
            <pc:docMk/>
            <pc:sldMk cId="3764551440" sldId="2147470081"/>
            <ac:spMk id="5" creationId="{72C8E8CD-D23C-0512-3CA6-C9870A6DE28A}"/>
          </ac:spMkLst>
        </pc:spChg>
        <pc:graphicFrameChg chg="add mod">
          <ac:chgData name="Chaurasia, Needhi" userId="b2739bf9-bed8-4839-8e77-9df68cf3244e" providerId="ADAL" clId="{26700B46-7CD7-47D8-B189-9820C218DA81}" dt="2025-09-03T11:10:22.582" v="11"/>
          <ac:graphicFrameMkLst>
            <pc:docMk/>
            <pc:sldMk cId="3764551440" sldId="2147470081"/>
            <ac:graphicFrameMk id="2" creationId="{A3C6F01B-46CA-1E85-F2A3-A3FD5EEDE5BD}"/>
          </ac:graphicFrameMkLst>
        </pc:graphicFrameChg>
        <pc:graphicFrameChg chg="del">
          <ac:chgData name="Chaurasia, Needhi" userId="b2739bf9-bed8-4839-8e77-9df68cf3244e" providerId="ADAL" clId="{26700B46-7CD7-47D8-B189-9820C218DA81}" dt="2025-09-03T11:10:17.349" v="6" actId="478"/>
          <ac:graphicFrameMkLst>
            <pc:docMk/>
            <pc:sldMk cId="3764551440" sldId="2147470081"/>
            <ac:graphicFrameMk id="3" creationId="{60B48994-75FC-6477-BEFF-F8B86A9FAF1D}"/>
          </ac:graphicFrameMkLst>
        </pc:graphicFrameChg>
        <pc:graphicFrameChg chg="add mod">
          <ac:chgData name="Chaurasia, Needhi" userId="b2739bf9-bed8-4839-8e77-9df68cf3244e" providerId="ADAL" clId="{26700B46-7CD7-47D8-B189-9820C218DA81}" dt="2025-09-03T11:10:43.114" v="19"/>
          <ac:graphicFrameMkLst>
            <pc:docMk/>
            <pc:sldMk cId="3764551440" sldId="2147470081"/>
            <ac:graphicFrameMk id="6" creationId="{A3C6F01B-46CA-1E85-F2A3-A3FD5EEDE5BD}"/>
          </ac:graphicFrameMkLst>
        </pc:graphicFrameChg>
        <pc:graphicFrameChg chg="add mod">
          <ac:chgData name="Chaurasia, Needhi" userId="b2739bf9-bed8-4839-8e77-9df68cf3244e" providerId="ADAL" clId="{26700B46-7CD7-47D8-B189-9820C218DA81}" dt="2025-09-03T11:10:56.353" v="26"/>
          <ac:graphicFrameMkLst>
            <pc:docMk/>
            <pc:sldMk cId="3764551440" sldId="2147470081"/>
            <ac:graphicFrameMk id="8" creationId="{A3C6F01B-46CA-1E85-F2A3-A3FD5EEDE5BD}"/>
          </ac:graphicFrameMkLst>
        </pc:graphicFrameChg>
        <pc:graphicFrameChg chg="add mod">
          <ac:chgData name="Chaurasia, Needhi" userId="b2739bf9-bed8-4839-8e77-9df68cf3244e" providerId="ADAL" clId="{26700B46-7CD7-47D8-B189-9820C218DA81}" dt="2025-09-03T11:11:07.208" v="31" actId="207"/>
          <ac:graphicFrameMkLst>
            <pc:docMk/>
            <pc:sldMk cId="3764551440" sldId="2147470081"/>
            <ac:graphicFrameMk id="9" creationId="{A3C6F01B-46CA-1E85-F2A3-A3FD5EEDE5BD}"/>
          </ac:graphicFrameMkLst>
        </pc:graphicFrameChg>
        <pc:graphicFrameChg chg="del">
          <ac:chgData name="Chaurasia, Needhi" userId="b2739bf9-bed8-4839-8e77-9df68cf3244e" providerId="ADAL" clId="{26700B46-7CD7-47D8-B189-9820C218DA81}" dt="2025-09-03T11:10:45.551" v="20" actId="478"/>
          <ac:graphicFrameMkLst>
            <pc:docMk/>
            <pc:sldMk cId="3764551440" sldId="2147470081"/>
            <ac:graphicFrameMk id="10" creationId="{CF62944A-414E-466D-A77B-0AF4331787E5}"/>
          </ac:graphicFrameMkLst>
        </pc:graphicFrameChg>
      </pc:sldChg>
      <pc:sldChg chg="mod modShow">
        <pc:chgData name="Chaurasia, Needhi" userId="b2739bf9-bed8-4839-8e77-9df68cf3244e" providerId="ADAL" clId="{26700B46-7CD7-47D8-B189-9820C218DA81}" dt="2025-09-03T11:33:40.732" v="339" actId="729"/>
        <pc:sldMkLst>
          <pc:docMk/>
          <pc:sldMk cId="3883485295" sldId="2147470083"/>
        </pc:sldMkLst>
      </pc:sldChg>
      <pc:sldChg chg="addSp delSp modSp mod">
        <pc:chgData name="Chaurasia, Needhi" userId="b2739bf9-bed8-4839-8e77-9df68cf3244e" providerId="ADAL" clId="{26700B46-7CD7-47D8-B189-9820C218DA81}" dt="2025-09-03T11:19:49.452" v="107"/>
        <pc:sldMkLst>
          <pc:docMk/>
          <pc:sldMk cId="2716515534" sldId="2147470094"/>
        </pc:sldMkLst>
        <pc:spChg chg="mod">
          <ac:chgData name="Chaurasia, Needhi" userId="b2739bf9-bed8-4839-8e77-9df68cf3244e" providerId="ADAL" clId="{26700B46-7CD7-47D8-B189-9820C218DA81}" dt="2025-09-03T11:19:41.415" v="105" actId="20577"/>
          <ac:spMkLst>
            <pc:docMk/>
            <pc:sldMk cId="2716515534" sldId="2147470094"/>
            <ac:spMk id="8" creationId="{B8B14BFB-5EBF-DECB-AD8A-347AD784ADB6}"/>
          </ac:spMkLst>
        </pc:spChg>
        <pc:graphicFrameChg chg="add mod">
          <ac:chgData name="Chaurasia, Needhi" userId="b2739bf9-bed8-4839-8e77-9df68cf3244e" providerId="ADAL" clId="{26700B46-7CD7-47D8-B189-9820C218DA81}" dt="2025-09-03T11:15:31.822" v="71"/>
          <ac:graphicFrameMkLst>
            <pc:docMk/>
            <pc:sldMk cId="2716515534" sldId="2147470094"/>
            <ac:graphicFrameMk id="3" creationId="{00000000-0008-0000-0000-000002000000}"/>
          </ac:graphicFrameMkLst>
        </pc:graphicFrameChg>
        <pc:graphicFrameChg chg="add mod">
          <ac:chgData name="Chaurasia, Needhi" userId="b2739bf9-bed8-4839-8e77-9df68cf3244e" providerId="ADAL" clId="{26700B46-7CD7-47D8-B189-9820C218DA81}" dt="2025-09-03T11:19:49.452" v="107"/>
          <ac:graphicFrameMkLst>
            <pc:docMk/>
            <pc:sldMk cId="2716515534" sldId="2147470094"/>
            <ac:graphicFrameMk id="4" creationId="{00000000-0008-0000-0000-000002000000}"/>
          </ac:graphicFrameMkLst>
        </pc:graphicFrameChg>
        <pc:graphicFrameChg chg="del mod">
          <ac:chgData name="Chaurasia, Needhi" userId="b2739bf9-bed8-4839-8e77-9df68cf3244e" providerId="ADAL" clId="{26700B46-7CD7-47D8-B189-9820C218DA81}" dt="2025-09-03T11:15:11.396" v="66" actId="478"/>
          <ac:graphicFrameMkLst>
            <pc:docMk/>
            <pc:sldMk cId="2716515534" sldId="2147470094"/>
            <ac:graphicFrameMk id="5" creationId="{00000000-0008-0000-0000-000002000000}"/>
          </ac:graphicFrameMkLst>
        </pc:graphicFrameChg>
        <pc:graphicFrameChg chg="mod modGraphic">
          <ac:chgData name="Chaurasia, Needhi" userId="b2739bf9-bed8-4839-8e77-9df68cf3244e" providerId="ADAL" clId="{26700B46-7CD7-47D8-B189-9820C218DA81}" dt="2025-09-03T11:14:54.983" v="60" actId="113"/>
          <ac:graphicFrameMkLst>
            <pc:docMk/>
            <pc:sldMk cId="2716515534" sldId="2147470094"/>
            <ac:graphicFrameMk id="9" creationId="{CCDB25D3-B895-E476-76CD-360C91F890AA}"/>
          </ac:graphicFrameMkLst>
        </pc:graphicFrameChg>
      </pc:sldChg>
      <pc:sldChg chg="mod modShow">
        <pc:chgData name="Chaurasia, Needhi" userId="b2739bf9-bed8-4839-8e77-9df68cf3244e" providerId="ADAL" clId="{26700B46-7CD7-47D8-B189-9820C218DA81}" dt="2025-09-03T11:33:23.773" v="337" actId="729"/>
        <pc:sldMkLst>
          <pc:docMk/>
          <pc:sldMk cId="4220878552" sldId="2147470099"/>
        </pc:sldMkLst>
      </pc:sldChg>
      <pc:sldChg chg="addSp delSp modSp mod">
        <pc:chgData name="Chaurasia, Needhi" userId="b2739bf9-bed8-4839-8e77-9df68cf3244e" providerId="ADAL" clId="{26700B46-7CD7-47D8-B189-9820C218DA81}" dt="2025-09-03T11:26:15.999" v="275" actId="6549"/>
        <pc:sldMkLst>
          <pc:docMk/>
          <pc:sldMk cId="2067239228" sldId="2147470101"/>
        </pc:sldMkLst>
        <pc:spChg chg="mod">
          <ac:chgData name="Chaurasia, Needhi" userId="b2739bf9-bed8-4839-8e77-9df68cf3244e" providerId="ADAL" clId="{26700B46-7CD7-47D8-B189-9820C218DA81}" dt="2025-09-03T11:22:21.423" v="147" actId="20577"/>
          <ac:spMkLst>
            <pc:docMk/>
            <pc:sldMk cId="2067239228" sldId="2147470101"/>
            <ac:spMk id="5" creationId="{D823F345-38A0-58D8-14F1-A2B07D4C5434}"/>
          </ac:spMkLst>
        </pc:spChg>
        <pc:graphicFrameChg chg="add mod">
          <ac:chgData name="Chaurasia, Needhi" userId="b2739bf9-bed8-4839-8e77-9df68cf3244e" providerId="ADAL" clId="{26700B46-7CD7-47D8-B189-9820C218DA81}" dt="2025-09-03T11:21:16.540" v="115"/>
          <ac:graphicFrameMkLst>
            <pc:docMk/>
            <pc:sldMk cId="2067239228" sldId="2147470101"/>
            <ac:graphicFrameMk id="2" creationId="{00000000-0008-0000-0100-000002000000}"/>
          </ac:graphicFrameMkLst>
        </pc:graphicFrameChg>
        <pc:graphicFrameChg chg="add mod">
          <ac:chgData name="Chaurasia, Needhi" userId="b2739bf9-bed8-4839-8e77-9df68cf3244e" providerId="ADAL" clId="{26700B46-7CD7-47D8-B189-9820C218DA81}" dt="2025-09-03T11:26:15.999" v="275" actId="6549"/>
          <ac:graphicFrameMkLst>
            <pc:docMk/>
            <pc:sldMk cId="2067239228" sldId="2147470101"/>
            <ac:graphicFrameMk id="3" creationId="{00000000-0008-0000-0100-000002000000}"/>
          </ac:graphicFrameMkLst>
        </pc:graphicFrameChg>
        <pc:graphicFrameChg chg="del">
          <ac:chgData name="Chaurasia, Needhi" userId="b2739bf9-bed8-4839-8e77-9df68cf3244e" providerId="ADAL" clId="{26700B46-7CD7-47D8-B189-9820C218DA81}" dt="2025-09-03T11:21:06.749" v="110" actId="478"/>
          <ac:graphicFrameMkLst>
            <pc:docMk/>
            <pc:sldMk cId="2067239228" sldId="2147470101"/>
            <ac:graphicFrameMk id="8" creationId="{00000000-0008-0000-0100-000002000000}"/>
          </ac:graphicFrameMkLst>
        </pc:graphicFrameChg>
      </pc:sldChg>
      <pc:sldChg chg="modSp mod">
        <pc:chgData name="Chaurasia, Needhi" userId="b2739bf9-bed8-4839-8e77-9df68cf3244e" providerId="ADAL" clId="{26700B46-7CD7-47D8-B189-9820C218DA81}" dt="2025-09-03T11:32:57.825" v="336" actId="20577"/>
        <pc:sldMkLst>
          <pc:docMk/>
          <pc:sldMk cId="4062730975" sldId="2147470105"/>
        </pc:sldMkLst>
        <pc:spChg chg="mod">
          <ac:chgData name="Chaurasia, Needhi" userId="b2739bf9-bed8-4839-8e77-9df68cf3244e" providerId="ADAL" clId="{26700B46-7CD7-47D8-B189-9820C218DA81}" dt="2025-09-03T11:32:57.825" v="336" actId="20577"/>
          <ac:spMkLst>
            <pc:docMk/>
            <pc:sldMk cId="4062730975" sldId="2147470105"/>
            <ac:spMk id="13" creationId="{313A4CE1-B456-6045-26E5-2C586FCFAAE5}"/>
          </ac:spMkLst>
        </pc:spChg>
        <pc:spChg chg="mod">
          <ac:chgData name="Chaurasia, Needhi" userId="b2739bf9-bed8-4839-8e77-9df68cf3244e" providerId="ADAL" clId="{26700B46-7CD7-47D8-B189-9820C218DA81}" dt="2025-09-03T11:28:27.794" v="297" actId="20577"/>
          <ac:spMkLst>
            <pc:docMk/>
            <pc:sldMk cId="4062730975" sldId="2147470105"/>
            <ac:spMk id="32" creationId="{ED77D66B-E7CE-AC5A-6165-FF7E8BDF1F78}"/>
          </ac:spMkLst>
        </pc:spChg>
      </pc:sldChg>
      <pc:sldChg chg="mod modShow">
        <pc:chgData name="Chaurasia, Needhi" userId="b2739bf9-bed8-4839-8e77-9df68cf3244e" providerId="ADAL" clId="{26700B46-7CD7-47D8-B189-9820C218DA81}" dt="2025-09-03T11:33:29.326" v="338" actId="729"/>
        <pc:sldMkLst>
          <pc:docMk/>
          <pc:sldMk cId="4164114838" sldId="2147470108"/>
        </pc:sldMkLst>
      </pc:sldChg>
      <pc:sldChg chg="add del">
        <pc:chgData name="Chaurasia, Needhi" userId="b2739bf9-bed8-4839-8e77-9df68cf3244e" providerId="ADAL" clId="{26700B46-7CD7-47D8-B189-9820C218DA81}" dt="2025-09-03T11:27:40.045" v="276" actId="2696"/>
        <pc:sldMkLst>
          <pc:docMk/>
          <pc:sldMk cId="874095271" sldId="2147470109"/>
        </pc:sldMkLst>
      </pc:sldChg>
      <pc:sldChg chg="add del">
        <pc:chgData name="Chaurasia, Needhi" userId="b2739bf9-bed8-4839-8e77-9df68cf3244e" providerId="ADAL" clId="{26700B46-7CD7-47D8-B189-9820C218DA81}" dt="2025-09-03T11:20:01.573" v="108" actId="2696"/>
        <pc:sldMkLst>
          <pc:docMk/>
          <pc:sldMk cId="3419047599" sldId="2147470109"/>
        </pc:sldMkLst>
      </pc:sldChg>
    </pc:docChg>
  </pc:docChgLst>
  <pc:docChgLst>
    <pc:chgData name="Mithbavkar, Ishan" userId="4200bafe-44a6-4357-bbcc-e6fd19d777a9" providerId="ADAL" clId="{E3155EBF-F084-4D35-B088-2E5DA954BAF3}"/>
    <pc:docChg chg="custSel addSld delSld modSld">
      <pc:chgData name="Mithbavkar, Ishan" userId="4200bafe-44a6-4357-bbcc-e6fd19d777a9" providerId="ADAL" clId="{E3155EBF-F084-4D35-B088-2E5DA954BAF3}" dt="2025-08-05T11:25:45.450" v="56" actId="47"/>
      <pc:docMkLst>
        <pc:docMk/>
      </pc:docMkLst>
      <pc:sldChg chg="modSp mod">
        <pc:chgData name="Mithbavkar, Ishan" userId="4200bafe-44a6-4357-bbcc-e6fd19d777a9" providerId="ADAL" clId="{E3155EBF-F084-4D35-B088-2E5DA954BAF3}" dt="2025-08-05T10:38:26.509" v="5" actId="1076"/>
        <pc:sldMkLst>
          <pc:docMk/>
          <pc:sldMk cId="803041232" sldId="7348"/>
        </pc:sldMkLst>
        <pc:spChg chg="mod">
          <ac:chgData name="Mithbavkar, Ishan" userId="4200bafe-44a6-4357-bbcc-e6fd19d777a9" providerId="ADAL" clId="{E3155EBF-F084-4D35-B088-2E5DA954BAF3}" dt="2025-08-05T10:38:20.224" v="4" actId="255"/>
          <ac:spMkLst>
            <pc:docMk/>
            <pc:sldMk cId="803041232" sldId="7348"/>
            <ac:spMk id="12" creationId="{00000000-0000-0000-0000-000000000000}"/>
          </ac:spMkLst>
        </pc:spChg>
        <pc:spChg chg="mod">
          <ac:chgData name="Mithbavkar, Ishan" userId="4200bafe-44a6-4357-bbcc-e6fd19d777a9" providerId="ADAL" clId="{E3155EBF-F084-4D35-B088-2E5DA954BAF3}" dt="2025-08-05T10:38:26.509" v="5" actId="1076"/>
          <ac:spMkLst>
            <pc:docMk/>
            <pc:sldMk cId="803041232" sldId="7348"/>
            <ac:spMk id="13" creationId="{00000000-0000-0000-0000-000000000000}"/>
          </ac:spMkLst>
        </pc:spChg>
      </pc:sldChg>
      <pc:sldChg chg="addSp delSp modSp mod">
        <pc:chgData name="Mithbavkar, Ishan" userId="4200bafe-44a6-4357-bbcc-e6fd19d777a9" providerId="ADAL" clId="{E3155EBF-F084-4D35-B088-2E5DA954BAF3}" dt="2025-08-05T11:14:17.269" v="39" actId="255"/>
        <pc:sldMkLst>
          <pc:docMk/>
          <pc:sldMk cId="3764551440" sldId="2147470081"/>
        </pc:sldMkLst>
        <pc:spChg chg="mod">
          <ac:chgData name="Mithbavkar, Ishan" userId="4200bafe-44a6-4357-bbcc-e6fd19d777a9" providerId="ADAL" clId="{E3155EBF-F084-4D35-B088-2E5DA954BAF3}" dt="2025-08-05T11:12:34.236" v="27" actId="20577"/>
          <ac:spMkLst>
            <pc:docMk/>
            <pc:sldMk cId="3764551440" sldId="2147470081"/>
            <ac:spMk id="5" creationId="{72C8E8CD-D23C-0512-3CA6-C9870A6DE28A}"/>
          </ac:spMkLst>
        </pc:spChg>
      </pc:sldChg>
      <pc:sldChg chg="addSp delSp modSp mod">
        <pc:chgData name="Mithbavkar, Ishan" userId="4200bafe-44a6-4357-bbcc-e6fd19d777a9" providerId="ADAL" clId="{E3155EBF-F084-4D35-B088-2E5DA954BAF3}" dt="2025-08-05T11:25:38.393" v="55" actId="14100"/>
        <pc:sldMkLst>
          <pc:docMk/>
          <pc:sldMk cId="3883485295" sldId="2147470083"/>
        </pc:sldMkLst>
        <pc:spChg chg="mod">
          <ac:chgData name="Mithbavkar, Ishan" userId="4200bafe-44a6-4357-bbcc-e6fd19d777a9" providerId="ADAL" clId="{E3155EBF-F084-4D35-B088-2E5DA954BAF3}" dt="2025-08-05T11:25:18.485" v="52" actId="20577"/>
          <ac:spMkLst>
            <pc:docMk/>
            <pc:sldMk cId="3883485295" sldId="2147470083"/>
            <ac:spMk id="3" creationId="{0025FCD6-EF66-3C4B-A9A2-9EBAC74C94CC}"/>
          </ac:spMkLst>
        </pc:spChg>
        <pc:graphicFrameChg chg="add mod modGraphic">
          <ac:chgData name="Mithbavkar, Ishan" userId="4200bafe-44a6-4357-bbcc-e6fd19d777a9" providerId="ADAL" clId="{E3155EBF-F084-4D35-B088-2E5DA954BAF3}" dt="2025-08-05T11:25:38.393" v="55" actId="14100"/>
          <ac:graphicFrameMkLst>
            <pc:docMk/>
            <pc:sldMk cId="3883485295" sldId="2147470083"/>
            <ac:graphicFrameMk id="8" creationId="{DECF8822-F1D6-F72A-CBBE-F4E1D08F526F}"/>
          </ac:graphicFrameMkLst>
        </pc:graphicFrameChg>
      </pc:sldChg>
      <pc:sldChg chg="modSp del mod">
        <pc:chgData name="Mithbavkar, Ishan" userId="4200bafe-44a6-4357-bbcc-e6fd19d777a9" providerId="ADAL" clId="{E3155EBF-F084-4D35-B088-2E5DA954BAF3}" dt="2025-08-05T11:25:45.450" v="56" actId="47"/>
        <pc:sldMkLst>
          <pc:docMk/>
          <pc:sldMk cId="2318399172" sldId="2147470089"/>
        </pc:sldMkLst>
      </pc:sldChg>
      <pc:sldChg chg="addSp delSp modSp mod">
        <pc:chgData name="Mithbavkar, Ishan" userId="4200bafe-44a6-4357-bbcc-e6fd19d777a9" providerId="ADAL" clId="{E3155EBF-F084-4D35-B088-2E5DA954BAF3}" dt="2025-08-05T10:45:27.072" v="17" actId="14734"/>
        <pc:sldMkLst>
          <pc:docMk/>
          <pc:sldMk cId="4220878552" sldId="2147470099"/>
        </pc:sldMkLst>
        <pc:spChg chg="mod">
          <ac:chgData name="Mithbavkar, Ishan" userId="4200bafe-44a6-4357-bbcc-e6fd19d777a9" providerId="ADAL" clId="{E3155EBF-F084-4D35-B088-2E5DA954BAF3}" dt="2025-08-05T10:44:27.680" v="14" actId="1076"/>
          <ac:spMkLst>
            <pc:docMk/>
            <pc:sldMk cId="4220878552" sldId="2147470099"/>
            <ac:spMk id="4" creationId="{76542E47-BD9F-4D0A-9D81-CC3A6C429B24}"/>
          </ac:spMkLst>
        </pc:spChg>
        <pc:spChg chg="mod">
          <ac:chgData name="Mithbavkar, Ishan" userId="4200bafe-44a6-4357-bbcc-e6fd19d777a9" providerId="ADAL" clId="{E3155EBF-F084-4D35-B088-2E5DA954BAF3}" dt="2025-08-05T10:44:54.568" v="16" actId="1076"/>
          <ac:spMkLst>
            <pc:docMk/>
            <pc:sldMk cId="4220878552" sldId="2147470099"/>
            <ac:spMk id="8" creationId="{0A58DF71-812F-2A14-D87C-64C94FB791B8}"/>
          </ac:spMkLst>
        </pc:spChg>
        <pc:graphicFrameChg chg="add mod modGraphic">
          <ac:chgData name="Mithbavkar, Ishan" userId="4200bafe-44a6-4357-bbcc-e6fd19d777a9" providerId="ADAL" clId="{E3155EBF-F084-4D35-B088-2E5DA954BAF3}" dt="2025-08-05T10:45:27.072" v="17" actId="14734"/>
          <ac:graphicFrameMkLst>
            <pc:docMk/>
            <pc:sldMk cId="4220878552" sldId="2147470099"/>
            <ac:graphicFrameMk id="5" creationId="{6597C79C-50F5-0C28-1EAD-317101EA408E}"/>
          </ac:graphicFrameMkLst>
        </pc:graphicFrameChg>
      </pc:sldChg>
      <pc:sldChg chg="del">
        <pc:chgData name="Mithbavkar, Ishan" userId="4200bafe-44a6-4357-bbcc-e6fd19d777a9" providerId="ADAL" clId="{E3155EBF-F084-4D35-B088-2E5DA954BAF3}" dt="2025-08-05T11:18:49.976" v="41" actId="47"/>
        <pc:sldMkLst>
          <pc:docMk/>
          <pc:sldMk cId="622332569" sldId="2147470107"/>
        </pc:sldMkLst>
      </pc:sldChg>
      <pc:sldChg chg="modSp add mod">
        <pc:chgData name="Mithbavkar, Ishan" userId="4200bafe-44a6-4357-bbcc-e6fd19d777a9" providerId="ADAL" clId="{E3155EBF-F084-4D35-B088-2E5DA954BAF3}" dt="2025-08-05T10:51:31.235" v="21" actId="120"/>
        <pc:sldMkLst>
          <pc:docMk/>
          <pc:sldMk cId="4164114838" sldId="2147470108"/>
        </pc:sldMkLst>
        <pc:graphicFrameChg chg="modGraphic">
          <ac:chgData name="Mithbavkar, Ishan" userId="4200bafe-44a6-4357-bbcc-e6fd19d777a9" providerId="ADAL" clId="{E3155EBF-F084-4D35-B088-2E5DA954BAF3}" dt="2025-08-05T10:51:31.235" v="21" actId="120"/>
          <ac:graphicFrameMkLst>
            <pc:docMk/>
            <pc:sldMk cId="4164114838" sldId="2147470108"/>
            <ac:graphicFrameMk id="12" creationId="{1E072150-44B4-0839-9D4A-259CC8215F92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163763066202089E-2"/>
          <c:y val="9.264305177111716E-2"/>
          <c:w val="0.9616724738675958"/>
          <c:h val="0.786194082687892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NPUT DISTRIBUTION STATUS'!$B$3</c:f>
              <c:strCache>
                <c:ptCount val="1"/>
                <c:pt idx="0">
                  <c:v> Total Dis 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NPUT DISTRIBUTION STATUS'!$A$4:$A$11</c:f>
              <c:strCache>
                <c:ptCount val="8"/>
                <c:pt idx="0">
                  <c:v>WH- Mitera</c:v>
                </c:pt>
                <c:pt idx="1">
                  <c:v>NeuroLife</c:v>
                </c:pt>
                <c:pt idx="2">
                  <c:v>Metabolics</c:v>
                </c:pt>
                <c:pt idx="3">
                  <c:v>GenNext</c:v>
                </c:pt>
                <c:pt idx="4">
                  <c:v>GI Optima</c:v>
                </c:pt>
                <c:pt idx="5">
                  <c:v>GI Prima</c:v>
                </c:pt>
                <c:pt idx="6">
                  <c:v>GI Maxima</c:v>
                </c:pt>
                <c:pt idx="7">
                  <c:v>GI Prospera</c:v>
                </c:pt>
              </c:strCache>
            </c:strRef>
          </c:cat>
          <c:val>
            <c:numRef>
              <c:f>'INPUT DISTRIBUTION STATUS'!$B$4:$B$11</c:f>
              <c:numCache>
                <c:formatCode>0.0</c:formatCode>
                <c:ptCount val="8"/>
                <c:pt idx="0">
                  <c:v>96.236928774991952</c:v>
                </c:pt>
                <c:pt idx="1">
                  <c:v>94.849258306011507</c:v>
                </c:pt>
                <c:pt idx="2">
                  <c:v>92.708373035165977</c:v>
                </c:pt>
                <c:pt idx="3">
                  <c:v>91.62998225035146</c:v>
                </c:pt>
                <c:pt idx="4">
                  <c:v>91.445543472107545</c:v>
                </c:pt>
                <c:pt idx="5">
                  <c:v>88.200181668757295</c:v>
                </c:pt>
                <c:pt idx="6">
                  <c:v>85.677518964241813</c:v>
                </c:pt>
                <c:pt idx="7">
                  <c:v>84.681859057311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56-4F97-9C22-99DBA542FE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82344528"/>
        <c:axId val="2001171456"/>
      </c:barChart>
      <c:catAx>
        <c:axId val="1082344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2001171456"/>
        <c:crosses val="autoZero"/>
        <c:auto val="1"/>
        <c:lblAlgn val="ctr"/>
        <c:lblOffset val="100"/>
        <c:noMultiLvlLbl val="0"/>
      </c:catAx>
      <c:valAx>
        <c:axId val="2001171456"/>
        <c:scaling>
          <c:orientation val="minMax"/>
          <c:max val="100"/>
          <c:min val="10"/>
        </c:scaling>
        <c:delete val="1"/>
        <c:axPos val="l"/>
        <c:numFmt formatCode="0.0" sourceLinked="1"/>
        <c:majorTickMark val="none"/>
        <c:minorTickMark val="none"/>
        <c:tickLblPos val="nextTo"/>
        <c:crossAx val="1082344528"/>
        <c:crosses val="autoZero"/>
        <c:crossBetween val="between"/>
        <c:majorUnit val="10"/>
        <c:min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ysClr val="window" lastClr="FFFFFF">
        <a:lumMod val="95000"/>
      </a:sys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1400" b="1" i="0" u="none" strike="noStrike" kern="1200" baseline="0" dirty="0">
                <a:solidFill>
                  <a:prstClr val="black"/>
                </a:solidFill>
              </a:rPr>
              <a:t>#HCPs Missed (June’25 - Aug’25)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5.572353338407042E-2"/>
          <c:y val="0.12222924119886965"/>
          <c:w val="0.91574961799139543"/>
          <c:h val="0.652971665901687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isual!$C$1</c:f>
              <c:strCache>
                <c:ptCount val="1"/>
                <c:pt idx="0">
                  <c:v>#HCPs</c:v>
                </c:pt>
              </c:strCache>
            </c:strRef>
          </c:tx>
          <c:spPr>
            <a:solidFill>
              <a:srgbClr val="004F71"/>
            </a:solidFill>
            <a:ln>
              <a:solidFill>
                <a:srgbClr val="004F71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isual!$B$2:$B$11</c:f>
              <c:strCache>
                <c:ptCount val="10"/>
                <c:pt idx="0">
                  <c:v>GI Optima</c:v>
                </c:pt>
                <c:pt idx="1">
                  <c:v>GI Maxima</c:v>
                </c:pt>
                <c:pt idx="2">
                  <c:v>GI Prima</c:v>
                </c:pt>
                <c:pt idx="3">
                  <c:v>Metabolics</c:v>
                </c:pt>
                <c:pt idx="4">
                  <c:v>GenNext</c:v>
                </c:pt>
                <c:pt idx="5">
                  <c:v>NeuroLife</c:v>
                </c:pt>
                <c:pt idx="6">
                  <c:v>GI Prospera</c:v>
                </c:pt>
                <c:pt idx="7">
                  <c:v>Vaccines</c:v>
                </c:pt>
                <c:pt idx="8">
                  <c:v>WH- Mitera</c:v>
                </c:pt>
                <c:pt idx="9">
                  <c:v>EPD-Nepal</c:v>
                </c:pt>
              </c:strCache>
            </c:strRef>
          </c:cat>
          <c:val>
            <c:numRef>
              <c:f>Visual!$C$2:$C$11</c:f>
              <c:numCache>
                <c:formatCode>General</c:formatCode>
                <c:ptCount val="10"/>
                <c:pt idx="0">
                  <c:v>2668</c:v>
                </c:pt>
                <c:pt idx="1">
                  <c:v>2032</c:v>
                </c:pt>
                <c:pt idx="2">
                  <c:v>1976</c:v>
                </c:pt>
                <c:pt idx="3">
                  <c:v>1672</c:v>
                </c:pt>
                <c:pt idx="4">
                  <c:v>1591</c:v>
                </c:pt>
                <c:pt idx="5">
                  <c:v>1319</c:v>
                </c:pt>
                <c:pt idx="6">
                  <c:v>694</c:v>
                </c:pt>
                <c:pt idx="7">
                  <c:v>531</c:v>
                </c:pt>
                <c:pt idx="8">
                  <c:v>399</c:v>
                </c:pt>
                <c:pt idx="9">
                  <c:v>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45-475D-B707-DA60377F697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"/>
        <c:axId val="100"/>
      </c:barChart>
      <c:catAx>
        <c:axId val="1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00"/>
        <c:crosses val="autoZero"/>
        <c:auto val="0"/>
        <c:lblAlgn val="ctr"/>
        <c:lblOffset val="100"/>
        <c:noMultiLvlLbl val="0"/>
      </c:catAx>
      <c:valAx>
        <c:axId val="1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ysClr val="window" lastClr="FFFFFF">
        <a:lumMod val="95000"/>
      </a:sysClr>
    </a:solidFill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283907419750176E-2"/>
          <c:y val="8.7380676202587174E-2"/>
          <c:w val="0.96743218516049967"/>
          <c:h val="0.774283450124210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New Visual'!$D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004F71"/>
            </a:solidFill>
            <a:ln>
              <a:solidFill>
                <a:srgbClr val="004F71"/>
              </a:solidFill>
              <a:prstDash val="solid"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2,599</a:t>
                    </a:r>
                  </a:p>
                  <a:p>
                    <a:r>
                      <a:rPr lang="en-US"/>
                      <a:t>(18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D10-44E4-AEE8-644C057311C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8,008</a:t>
                    </a:r>
                  </a:p>
                  <a:p>
                    <a:r>
                      <a:rPr lang="en-US"/>
                      <a:t>(16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D10-44E4-AEE8-644C057311C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8,675</a:t>
                    </a:r>
                  </a:p>
                  <a:p>
                    <a:r>
                      <a:rPr lang="en-US"/>
                      <a:t>(14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D10-44E4-AEE8-644C057311C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,843</a:t>
                    </a:r>
                  </a:p>
                  <a:p>
                    <a:r>
                      <a:rPr lang="en-US"/>
                      <a:t>(13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D10-44E4-AEE8-644C057311C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3,748</a:t>
                    </a:r>
                  </a:p>
                  <a:p>
                    <a:r>
                      <a:rPr lang="en-US" dirty="0"/>
                      <a:t>(12%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D10-44E4-AEE8-644C057311C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797</a:t>
                    </a:r>
                    <a:br>
                      <a:rPr lang="en-US"/>
                    </a:br>
                    <a:r>
                      <a:rPr lang="en-US"/>
                      <a:t>(11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D10-44E4-AEE8-644C057311C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6,671</a:t>
                    </a:r>
                  </a:p>
                  <a:p>
                    <a:r>
                      <a:rPr lang="en-US"/>
                      <a:t>(11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DD10-44E4-AEE8-644C057311C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3,955</a:t>
                    </a:r>
                  </a:p>
                  <a:p>
                    <a:r>
                      <a:rPr lang="en-US"/>
                      <a:t>(7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D10-44E4-AEE8-644C057311C3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809</a:t>
                    </a:r>
                  </a:p>
                  <a:p>
                    <a:r>
                      <a:rPr lang="en-US"/>
                      <a:t>(5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DD10-44E4-AEE8-644C057311C3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592</a:t>
                    </a:r>
                  </a:p>
                  <a:p>
                    <a:r>
                      <a:rPr lang="en-US"/>
                      <a:t>(2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DD10-44E4-AEE8-644C057311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ew Visual'!$A$2:$A$11</c:f>
              <c:strCache>
                <c:ptCount val="10"/>
                <c:pt idx="0">
                  <c:v>Metabolics</c:v>
                </c:pt>
                <c:pt idx="1">
                  <c:v>NeuroLife</c:v>
                </c:pt>
                <c:pt idx="2">
                  <c:v>GI Maxima</c:v>
                </c:pt>
                <c:pt idx="3">
                  <c:v>GI Prospera</c:v>
                </c:pt>
                <c:pt idx="4">
                  <c:v>GenNext</c:v>
                </c:pt>
                <c:pt idx="5">
                  <c:v>EPD-Nepal</c:v>
                </c:pt>
                <c:pt idx="6">
                  <c:v>GI Prima</c:v>
                </c:pt>
                <c:pt idx="7">
                  <c:v>GI Optima</c:v>
                </c:pt>
                <c:pt idx="8">
                  <c:v>Vaccines</c:v>
                </c:pt>
                <c:pt idx="9">
                  <c:v>WH- Mitera</c:v>
                </c:pt>
              </c:strCache>
            </c:strRef>
          </c:cat>
          <c:val>
            <c:numRef>
              <c:f>'New Visual'!$D$2:$D$11</c:f>
              <c:numCache>
                <c:formatCode>General</c:formatCode>
                <c:ptCount val="10"/>
                <c:pt idx="0">
                  <c:v>17.88</c:v>
                </c:pt>
                <c:pt idx="1">
                  <c:v>16.100000000000001</c:v>
                </c:pt>
                <c:pt idx="2">
                  <c:v>13.62</c:v>
                </c:pt>
                <c:pt idx="3">
                  <c:v>13.16</c:v>
                </c:pt>
                <c:pt idx="4">
                  <c:v>11.62</c:v>
                </c:pt>
                <c:pt idx="5">
                  <c:v>11.3</c:v>
                </c:pt>
                <c:pt idx="6">
                  <c:v>11.04</c:v>
                </c:pt>
                <c:pt idx="7">
                  <c:v>7.23</c:v>
                </c:pt>
                <c:pt idx="8">
                  <c:v>4.5999999999999996</c:v>
                </c:pt>
                <c:pt idx="9">
                  <c:v>2.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10-44E4-AEE8-644C057311C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"/>
        <c:axId val="100"/>
      </c:barChart>
      <c:catAx>
        <c:axId val="1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100"/>
        <c:crosses val="autoZero"/>
        <c:auto val="0"/>
        <c:lblAlgn val="ctr"/>
        <c:lblOffset val="100"/>
        <c:noMultiLvlLbl val="0"/>
      </c:catAx>
      <c:valAx>
        <c:axId val="1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</c:sp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531" y="0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FA2CA8-92D6-47CF-85D6-1F0532C1E387}" type="datetimeFigureOut">
              <a:rPr lang="en-US" smtClean="0"/>
              <a:t>9/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1738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531" y="8841738"/>
            <a:ext cx="3043980" cy="4657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A89C9-4676-4DF6-A308-B82F637C7B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995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FB7AB40-F860-4E32-9C26-3A6684532969}" type="datetimeFigureOut">
              <a:rPr lang="en-US" smtClean="0"/>
              <a:t>9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21030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4" cy="46545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E1EEE18-8F3D-4CB3-B090-6249C20A5A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912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2103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D124A700-1604-4E8B-8E87-44FD4BDB398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BUSINESS EFFECTIVENESS</a:t>
            </a:r>
          </a:p>
        </p:txBody>
      </p:sp>
    </p:spTree>
    <p:extLst>
      <p:ext uri="{BB962C8B-B14F-4D97-AF65-F5344CB8AC3E}">
        <p14:creationId xmlns:p14="http://schemas.microsoft.com/office/powerpoint/2010/main" val="1156347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987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703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1928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944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EEE18-8F3D-4CB3-B090-6249C20A5AF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63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20" y="2330054"/>
            <a:ext cx="8138160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1749981"/>
            <a:ext cx="8138159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3701654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472" y="137160"/>
            <a:ext cx="1188720" cy="130205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C079E7-0338-4425-842D-F75F238C7B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6159" y="204186"/>
            <a:ext cx="3092450" cy="322263"/>
          </a:xfrm>
          <a:prstGeom prst="rect">
            <a:avLst/>
          </a:prstGeom>
        </p:spPr>
        <p:txBody>
          <a:bodyPr anchor="ctr"/>
          <a:lstStyle>
            <a:lvl1pPr algn="r">
              <a:defRPr sz="1400" b="1" cap="all" spc="1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DESCRIPT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793405-04CB-4323-810D-A0A8EF6A5E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233" t="90667"/>
          <a:stretch/>
        </p:blipFill>
        <p:spPr>
          <a:xfrm>
            <a:off x="7519386" y="4663440"/>
            <a:ext cx="1624614" cy="48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05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Alternate Half-content &amp; image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marR="0" lvl="0" indent="0" defTabSz="4572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noProof="0">
                <a:solidFill>
                  <a:schemeClr val="bg2">
                    <a:lumMod val="10000"/>
                  </a:schemeClr>
                </a:solidFill>
              </a:rPr>
              <a:t>Proprietary and confidential — do not tribut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CE9EE84-6D78-4EA7-A0BA-54294DAD6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8716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4213A971-0458-449E-8A05-022FFCDC03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9033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B5BC7F6D-6A69-4462-AC94-59D2440E9F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8714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23EF97-2AF1-4BC1-8D63-045483DD256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D98DC72C-FF97-454D-891A-E59162B8470A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18BE77-856F-4D71-8C4D-A80F42B84D0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75FA21-F22F-4405-914F-AC7F969360A4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6D2ECF6-F659-4014-833D-805B4A945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8" y="569594"/>
            <a:ext cx="3822191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4157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  <a:effectLst/>
        </p:spPr>
        <p:txBody>
          <a:bodyPr lIns="365760" rIns="365760" anchor="ctr" anchorCtr="1"/>
          <a:lstStyle>
            <a:lvl1pPr marL="4572000" indent="0" algn="ctr">
              <a:tabLst/>
              <a:defRPr sz="1800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nsert an image or chart 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1DA9A41A-6EE1-49F5-AFE9-BA3D27BD9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9429E2A8-8B6B-4260-8142-907D2399D5E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1411940"/>
            <a:ext cx="3822191" cy="3251499"/>
          </a:xfrm>
        </p:spPr>
        <p:txBody>
          <a:bodyPr>
            <a:noAutofit/>
          </a:bodyPr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4CF751-3BDD-4432-9A40-E34045D90E3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E4E697E-B316-4A16-8B7A-B5528806EB0D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FE8107-E06D-4492-9857-10B4970CAA9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792D09-E15E-4CCD-87EF-5783AD18A84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0CF4E0E-DA80-4BC2-9E1D-BCD92B413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2219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355747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  <a:effectLst/>
        </p:spPr>
        <p:txBody>
          <a:bodyPr lIns="914400" rIns="914400" anchor="ctr" anchorCtr="0"/>
          <a:lstStyle>
            <a:lvl1pPr marL="9525" indent="0" algn="l">
              <a:tabLst/>
              <a:defRPr sz="1800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nsert an image or chart 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1E655C6-6C55-4BCE-A907-B7048CE6FF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651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15B48ECC-C9D4-4D04-9E63-711B66A66FE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26509" y="1411940"/>
            <a:ext cx="3822191" cy="3251499"/>
          </a:xfrm>
        </p:spPr>
        <p:txBody>
          <a:bodyPr>
            <a:noAutofit/>
          </a:bodyPr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D4796D-9352-4298-8014-7BFEE45153C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507E6A2-1059-4983-888C-28F536065E88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ACB341-446E-46CE-9F33-2A03CF131C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2BA0EB-18C0-4928-ACAB-AAD4C76C8EB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C2C8445-AEFF-46AD-8EF1-021CA88FA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509" y="569594"/>
            <a:ext cx="381457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516814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FC1646B-E15A-4F90-9777-95E6C931F3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B1F4A0-5015-4C74-B068-768960FF69C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465822-5BF3-4709-AB4E-179197EC65B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C01942-449A-49B1-8D63-E8369225C78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42CD36-66BB-48A9-816A-D016BDE469C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8FAC4B-0242-454B-A6DF-595571700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8151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EB0540-A918-4EBD-8BDB-4AA2BEEE3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4FEAB-0E48-4920-B717-BB240C5E04D5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1B1EAF-EED6-47DA-A8C9-CBB197FFA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E8310F-73E7-4BA3-AF61-301494879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7701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Soli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71600" y="1508760"/>
            <a:ext cx="6858000" cy="267462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0">
                <a:solidFill>
                  <a:schemeClr val="tx1"/>
                </a:solidFill>
                <a:latin typeface="+mj-lt"/>
              </a:defRPr>
            </a:lvl1pPr>
            <a:lvl2pPr marL="1371600" indent="-228600" algn="l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quote text</a:t>
            </a:r>
          </a:p>
          <a:p>
            <a:pPr lvl="1"/>
            <a:r>
              <a:rPr lang="en-US"/>
              <a:t>Second level for attribu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8B8B33-060E-4314-8BEF-465ED8C0931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DA91AAA-FE35-4B13-A8C4-4A83957C3D40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EE1BCA-D4DB-4E27-A503-8FBCC0033D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810F55-79DF-46B5-918B-679B2950A2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60763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2920" y="2331719"/>
            <a:ext cx="8138160" cy="1234440"/>
          </a:xfrm>
          <a:prstGeom prst="rect">
            <a:avLst/>
          </a:prstGeo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02920" y="1748790"/>
            <a:ext cx="8138160" cy="480060"/>
          </a:xfrm>
          <a:prstGeom prst="rect">
            <a:avLst/>
          </a:prstGeo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13A1F3-DF9E-4800-8917-940122198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FA3BD-55E6-4550-8B62-D7F11F14533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A0AB46-1A44-4564-8BF0-08221C8B3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DFF6F6-3E16-4A4D-B447-FE316A88E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764335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7441" y="1206347"/>
            <a:ext cx="2509119" cy="273080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076D765-EC4D-4F23-8E1E-E5943F6708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097"/>
          <a:stretch/>
        </p:blipFill>
        <p:spPr>
          <a:xfrm>
            <a:off x="0" y="4634144"/>
            <a:ext cx="9144000" cy="50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3395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LTT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6BE25BFE-C141-9744-B07B-AF2EDC4463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0642" y="939843"/>
            <a:ext cx="3782715" cy="326381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96C1ADF-FAEF-45D0-868A-75D0E4C5F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097"/>
          <a:stretch/>
        </p:blipFill>
        <p:spPr>
          <a:xfrm>
            <a:off x="0" y="4634144"/>
            <a:ext cx="9144000" cy="50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700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19" y="2330054"/>
            <a:ext cx="8138161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1749981"/>
            <a:ext cx="8138161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3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3701654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869" y="114301"/>
            <a:ext cx="1371600" cy="112177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50" y="65675"/>
            <a:ext cx="1335866" cy="145239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D53E9EB-5140-4B45-9E48-1E649703FDFB}"/>
              </a:ext>
            </a:extLst>
          </p:cNvPr>
          <p:cNvSpPr/>
          <p:nvPr userDrawn="1"/>
        </p:nvSpPr>
        <p:spPr>
          <a:xfrm>
            <a:off x="8124825" y="4781550"/>
            <a:ext cx="381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3C35E6-2B15-4EB5-922F-EF2D3E35F7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6159" y="204186"/>
            <a:ext cx="3092450" cy="322263"/>
          </a:xfrm>
          <a:prstGeom prst="rect">
            <a:avLst/>
          </a:prstGeom>
        </p:spPr>
        <p:txBody>
          <a:bodyPr anchor="ctr"/>
          <a:lstStyle>
            <a:lvl1pPr algn="r">
              <a:defRPr sz="1400" b="1" cap="all" spc="15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DESCRIPTOR</a:t>
            </a:r>
          </a:p>
        </p:txBody>
      </p:sp>
    </p:spTree>
    <p:extLst>
      <p:ext uri="{BB962C8B-B14F-4D97-AF65-F5344CB8AC3E}">
        <p14:creationId xmlns:p14="http://schemas.microsoft.com/office/powerpoint/2010/main" val="615865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ayout Opti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9D605B9-9BD6-43CD-A06E-9AC4638C64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806" t="90960"/>
          <a:stretch/>
        </p:blipFill>
        <p:spPr>
          <a:xfrm>
            <a:off x="7297444" y="4678532"/>
            <a:ext cx="1846555" cy="4649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19" y="1383030"/>
            <a:ext cx="8138161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800100"/>
            <a:ext cx="8138161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2743200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232" y="3714751"/>
            <a:ext cx="1190552" cy="130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322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02 Alternat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19" y="1383030"/>
            <a:ext cx="8138161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19" y="800100"/>
            <a:ext cx="8138161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3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2743200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3A8187-9AE6-45F6-AFB2-E9605D2CADAC}"/>
              </a:ext>
            </a:extLst>
          </p:cNvPr>
          <p:cNvSpPr/>
          <p:nvPr userDrawn="1"/>
        </p:nvSpPr>
        <p:spPr>
          <a:xfrm>
            <a:off x="8039100" y="4600575"/>
            <a:ext cx="466725" cy="4873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382" y="3635530"/>
            <a:ext cx="1335866" cy="1452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017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6D6E74-3911-4251-9210-E9AF0CB465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DCEC16E3-E9C3-470B-B2C9-CBD23EA9860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20" y="1487804"/>
            <a:ext cx="8145780" cy="3174922"/>
          </a:xfrm>
        </p:spPr>
        <p:txBody>
          <a:bodyPr/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D5EEAD8-45FF-4137-A993-0E3B0A63B7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1097279"/>
            <a:ext cx="814546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CALIBRI 18PT BOLD, ABBOTT PRIMARY BLUE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DC924F-90DF-445E-8B97-BBAAC724C9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EB5C92E-4C87-4CAD-848F-64F29AAE2F45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34CA4E-D175-4CEA-A01B-801AF251C8D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55708B-6E29-4B98-9BCC-8E9ABCBC50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037560-9A3C-4F82-8326-5BA9DC7E0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55607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78F9584-625D-462B-8192-C99B9E91AB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0F6E8C1B-F140-45B9-ADF1-1C3C6570114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18" y="1097279"/>
            <a:ext cx="8145781" cy="3566159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BBE536-7818-403A-BC04-6044BD8DF6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987640C-187A-4259-9416-5C46FB15B640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EA0E97-D965-4D44-9620-0A72AD840F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207778-8175-4150-B966-94A141763B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F929929-2132-41E1-AC3F-CB52C0F24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22733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2367392-CE3F-4A36-802E-43D377135A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3238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84001D6-32AA-4130-AA76-37D05FF0EF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3460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8" name="Content Placeholder 14">
            <a:extLst>
              <a:ext uri="{FF2B5EF4-FFF2-40B4-BE49-F238E27FC236}">
                <a16:creationId xmlns:a16="http://schemas.microsoft.com/office/drawing/2014/main" id="{1F77A952-6CFD-4B10-A39C-FBF9CCB45B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02919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19" name="Content Placeholder 14">
            <a:extLst>
              <a:ext uri="{FF2B5EF4-FFF2-40B4-BE49-F238E27FC236}">
                <a16:creationId xmlns:a16="http://schemas.microsoft.com/office/drawing/2014/main" id="{0756EC84-5A13-4571-BFB7-247BD6E93F5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23460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B479ED3-E6FF-4DA0-B9B5-59809FFAEF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300908-06B8-4450-B60A-88B96EB281E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E6FC44E-B84E-46C3-816B-78F333792D36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825B9-6400-43B6-90E6-598C26BDA8A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97AE90-94DC-42BA-ADE5-D278762E2C1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EF361A-66CC-4BB0-B39E-89C49C7C3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30913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9A84B86-6CE3-4715-A01A-FECF8E99EC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184EA7A-C14A-435C-84F4-DB8BC3A9A6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1097280"/>
            <a:ext cx="8129016" cy="8229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D0068BB-B539-4488-911A-96DC071FE8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C1F4580-228D-4976-BFA8-C2248824F3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3460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4073EB3D-18BB-4E2C-9D12-E03D0B6131B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112F3581-3732-4A0B-8F51-60DBC2912C0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3460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706224-2367-4FA5-9B18-9AA63B18CF1B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D3FFEB7-5377-4C64-869A-92FBB971CB70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F5796-4566-4414-81A5-79EEAF0B2B0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E2E13-ACC4-4D21-A8FC-C2F3D3CB040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70CCA99-51EC-45D2-B950-26AA8F942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21030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5D9C096-3ECB-4476-AF46-67B691208D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828A00F-D1B4-4C3E-969E-375A3487E7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8B40350-90AF-4369-8B21-A237E4585B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74DA2C74-7837-4DF6-A9E0-010AABA411B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4384C29-B1D2-4169-8C59-6E4C6B7D22E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238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0312D5F6-81FC-4261-AED0-88E16C3727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2919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7D4438C-A15F-4C89-AEA1-55760767051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1401F15-2D5C-485E-8201-5C54B83C8A02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178D6-92A2-49EF-A097-DBBD4C978BD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85027C-E69B-4DB3-92E9-48E573CEA3D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37C8C2-703A-434C-8FCD-F837C8E02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18537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rgbClr val="000000"/>
                </a:solidFill>
                <a:latin typeface="+mn-lt"/>
                <a:cs typeface="Calibri" panose="020F0502020204030204" pitchFamily="34" charset="0"/>
              </a:rPr>
              <a:t>Proprietary and confidential — do not tribut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2FAC416-5A96-491E-91F4-37DD3C42AC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6509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3FDA49B-BBFC-4479-BD4E-6B88C700E3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6826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C4C2575-A445-43B7-875C-641A76884F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6826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E778DA63-FCCC-4EE0-AA5F-890A1063CF1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6507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FD7EDCF-7335-4524-B52F-5720399919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6826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08041EA5-1907-45C9-B84F-05A0E02AB31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826507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484ACD-79ED-4CDF-B700-DB5AF1374DAB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2F7157D-3802-426B-900A-95868D8D0D6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DE31CA-938E-40F2-B8DF-EC63BC9111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33596-659C-4FA5-8FDA-6E2D727E3DF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53B9BC9-DDA4-4B41-877D-4D325E612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8" y="569594"/>
            <a:ext cx="3822191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358765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Alternate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5D9C096-3ECB-4476-AF46-67B691208D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828A00F-D1B4-4C3E-969E-375A3487E7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74DA2C74-7837-4DF6-A9E0-010AABA411B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3B9230-A7F6-4BBD-BEF3-77BAE4DB532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52AE3BAD-77DA-4DC3-8564-372EC9B35F01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FAB7F4-4C9A-42B1-B783-24055DD11B2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75CE6A-9BB1-4FD1-87E4-8B4C5D7970D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FFA0477-9053-4735-AF83-CAE5FA0F9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3493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Alternate Half-content &amp;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/>
              <a:t>Proprietary and confidential — do not tribut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2FAC416-5A96-491E-91F4-37DD3C42AC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6509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3FDA49B-BBFC-4479-BD4E-6B88C700E3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6826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E778DA63-FCCC-4EE0-AA5F-890A1063CF1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6507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B41521-E66D-4167-8B16-B97879A9633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11ACC7F3-317A-4AC6-971D-C6976AAED7E9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472118-6250-44B2-974F-70AEC72A4D0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F4B666-DF00-44E3-8916-5163148FED2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15237F2-DC73-49BD-95C5-5982437CE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506" y="569594"/>
            <a:ext cx="3814573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33522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DB57EE1-11D5-470C-B633-08E9CE6ABD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9C8B4ED-99D4-4FA7-951B-B230EC2B1EE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7711" y="1097957"/>
            <a:ext cx="8138160" cy="2743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CHART TITLE, CALIBRI, 18PT, BOL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849D2D5-1C25-41F7-91C5-A575937D23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7710" y="1369506"/>
            <a:ext cx="8138160" cy="27432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Second level for chart subtitle</a:t>
            </a:r>
          </a:p>
        </p:txBody>
      </p:sp>
      <p:sp>
        <p:nvSpPr>
          <p:cNvPr id="17" name="Chart Placeholder 14">
            <a:extLst>
              <a:ext uri="{FF2B5EF4-FFF2-40B4-BE49-F238E27FC236}">
                <a16:creationId xmlns:a16="http://schemas.microsoft.com/office/drawing/2014/main" id="{5F384281-9885-4DF1-AB32-7D6D158EC4B8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502920" y="1714500"/>
            <a:ext cx="8145780" cy="2743200"/>
          </a:xfrm>
        </p:spPr>
        <p:txBody>
          <a:bodyPr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806C5A9-06E4-4EA0-A5AC-FD02E44C15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4616896"/>
            <a:ext cx="8138160" cy="17081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Add footnote, source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5FFC5B-7DCB-4F16-9BA5-E18BADB4A7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41D42BC-6BF7-45FA-9EF0-E6E65F461AD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8745DE-50DB-463B-AB0C-3EA75AE6B6C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EF5804-5A65-4CF1-8DA2-6AFBBED2FBA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65E2572-4B54-4077-843C-8E859167A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19168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F84C077-90EB-489F-9583-81D63D0529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7C330037-A806-4CED-9F5A-3F59AAC3868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20" y="1487804"/>
            <a:ext cx="8145780" cy="3174922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2BAB220-7024-4DDE-95A2-9D418A52C7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1097279"/>
            <a:ext cx="814546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CALIBRI 18PT BOLD, whi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F0FAF0-90C1-4584-9571-3F4319CC032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67EDCBE-D223-41D9-9F9D-F77E0BC25C2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CFB9CD-0E07-42CF-952D-B9309666672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92DA3C-241C-49E9-A85A-61D3D50A109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A8AD84-F7C7-4D1C-8D71-9D4471BCF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81967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abl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4099E12-93CF-4238-950D-B699BBED1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FAF8700-F002-4A2F-B04A-6FE90BE6FD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7711" y="1097957"/>
            <a:ext cx="8138160" cy="2743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able TITLE, CALIBRI, 18PT, BOLD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CBF897FA-2891-4141-ADA3-1B87FB5BC5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7710" y="1369506"/>
            <a:ext cx="8138160" cy="27432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Second level for table subtitle</a:t>
            </a:r>
          </a:p>
        </p:txBody>
      </p:sp>
      <p:sp>
        <p:nvSpPr>
          <p:cNvPr id="18" name="Table Placeholder 4">
            <a:extLst>
              <a:ext uri="{FF2B5EF4-FFF2-40B4-BE49-F238E27FC236}">
                <a16:creationId xmlns:a16="http://schemas.microsoft.com/office/drawing/2014/main" id="{2EA10139-92DE-45F7-A9D8-ABD6CC72C084}"/>
              </a:ext>
            </a:extLst>
          </p:cNvPr>
          <p:cNvSpPr>
            <a:spLocks noGrp="1"/>
          </p:cNvSpPr>
          <p:nvPr>
            <p:ph type="tbl" sz="quarter" idx="22"/>
          </p:nvPr>
        </p:nvSpPr>
        <p:spPr>
          <a:xfrm>
            <a:off x="502920" y="1714500"/>
            <a:ext cx="8150990" cy="2743200"/>
          </a:xfrm>
        </p:spPr>
        <p:txBody>
          <a:bodyPr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47BBFB3-3E66-4180-AF12-56CA7F7553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4616896"/>
            <a:ext cx="8138160" cy="17081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Add footnote, source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3332D2-3F8C-426F-A5F9-C6A391EED20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8DFAEA5-3405-4D0E-919A-A61BA51B092A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9129B7-2182-4386-B80B-867B3ACDA4F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C24684-E6B4-4BD9-8BD8-AC9EF13979F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902C5C9-5058-4177-969E-40DA96F5C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06787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marL="3776663" indent="0" algn="l">
              <a:tabLst/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8B7A96-E0C8-46F1-B070-891752D196D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/>
              <a:t>Proprietary and confidential — do not tribut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D57305E-F709-4E9E-B399-8D21F2A51F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C73EADF8-32AF-409A-AD0A-3134A5D09D5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1411940"/>
            <a:ext cx="3822191" cy="325149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773DD-8785-4FC2-AF8C-4BD02D65FAA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CE202AC-342E-4C94-A723-CE2B62BAF20D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BEA876-4C7E-4537-94BE-665C515C27A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4E7F27-BC9F-4C7C-AEDE-EBE5E610675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9F6E49E-58F8-4C3C-A68B-2F9F6D04B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22190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76961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0" rIns="0" anchor="ctr" anchorCtr="0"/>
          <a:lstStyle>
            <a:lvl1pPr marL="695325" indent="0" algn="l">
              <a:tabLst/>
              <a:defRPr sz="1800" b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97FC738-9BF3-4608-8B8E-05D0C5B5F6D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/>
              <a:t>Proprietary and confidential — do not tribut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273392E-BE16-4C3F-A463-7A7FC6BEE0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888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679F6DF-FEFB-4C1A-A396-814197C11D8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18886" y="1411940"/>
            <a:ext cx="3822191" cy="325149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D76FE1-2343-401F-9B50-2D94D41508B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D7B0B7-8DE7-4DB9-9155-35AD2451FF87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2C2FB-9FB0-4348-9003-445848FA809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9B395C-4C96-400F-BACC-D37B142F938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8C52464-5C9B-4AFD-9192-69E332474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6" y="569594"/>
            <a:ext cx="3822194" cy="390526"/>
          </a:xfrm>
        </p:spPr>
        <p:txBody>
          <a:bodyPr/>
          <a:lstStyle/>
          <a:p>
            <a:r>
              <a:rPr lang="en-US"/>
              <a:t>Click to edit Mas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096494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C2773AC-CB5F-4692-8614-145FCB8122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3E83E-3A70-4B89-9B2B-43656C696BE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F1F62FC-9F1B-438F-AD4C-212E5515D65F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92029F-E7AE-4C7E-B7F7-A3099B08AEE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65FA7B-619A-470F-A2D9-2E8C2CD2A19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D53E6E0-85EB-466F-AFE3-B8C78EA43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577546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7957ED-D44B-4EB0-AC33-0B1554DFB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386B7-87EC-4064-AA3C-B7549BB2FC08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4D6EDE-D55E-4F86-BCCC-82DBD605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F3E879-F73F-48C1-AC19-38C6F5F6B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362425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9D5804C8-119A-4621-B885-F0B59F0C23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338" y="1064196"/>
            <a:ext cx="2753140" cy="2998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0272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LTTF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CA73EC50-27B9-4304-8A26-2A1CE79D62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6510" y="393405"/>
            <a:ext cx="4735158" cy="435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7905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Layout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2920" y="2330054"/>
            <a:ext cx="8138160" cy="1234440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20" y="1749981"/>
            <a:ext cx="8138159" cy="480060"/>
          </a:xfrm>
          <a:prstGeom prst="rect">
            <a:avLst/>
          </a:prstGeo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2920" y="3701654"/>
            <a:ext cx="4846320" cy="480060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Day |  Month |  YY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472" y="137160"/>
            <a:ext cx="1188720" cy="130205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C079E7-0338-4425-842D-F75F238C7B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6160" y="204187"/>
            <a:ext cx="3092450" cy="322263"/>
          </a:xfrm>
          <a:prstGeom prst="rect">
            <a:avLst/>
          </a:prstGeom>
        </p:spPr>
        <p:txBody>
          <a:bodyPr anchor="ctr"/>
          <a:lstStyle>
            <a:lvl1pPr algn="r">
              <a:defRPr sz="1400" b="1" cap="all" spc="1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DESCRIPT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197EC8-C922-4828-9D91-7C3220012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426" t="90667"/>
          <a:stretch/>
        </p:blipFill>
        <p:spPr>
          <a:xfrm>
            <a:off x="6714067" y="4663440"/>
            <a:ext cx="2429933" cy="48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098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7441" y="1206347"/>
            <a:ext cx="2509119" cy="273080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2FBA41C-7808-4C13-AEDC-0344FD764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523"/>
          <a:stretch/>
        </p:blipFill>
        <p:spPr>
          <a:xfrm>
            <a:off x="0" y="4707467"/>
            <a:ext cx="9144000" cy="43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999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32ABD3-C47F-490F-B5EA-C2C5FC6710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969B58-649C-4DD0-A7E3-75ABE88FBE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36ECC2-FE15-4907-89F8-CF07A93A9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54A1E6-E0DF-47C4-88B5-D6D470373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CC98C-AF21-44BB-93F2-AA18731AB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5308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E6824-BC35-4134-9F27-991A840349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72D10E3-4645-4C6E-99E9-2CF712C6A9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920" y="1097279"/>
            <a:ext cx="8145780" cy="3565447"/>
          </a:xfrm>
        </p:spPr>
        <p:txBody>
          <a:bodyPr>
            <a:noAutofit/>
          </a:bodyPr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 marL="228600" indent="0">
              <a:buNone/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5CF4A4-92F7-4E55-BC55-859506520B4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E902E1-470E-475D-81A2-FC8BF3441EC6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495FDD-D3BC-46F6-BB7E-5F059C189E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59E2BE-8EB9-4589-83FE-23C24221EA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7DB5A-D239-46B4-883A-06C9FD2BF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61834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DC8CFFF-24E5-4D53-989F-F4E93C9D9D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3238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E1D0A19-24A0-42A1-88A0-10A757E8E6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3460" y="1097279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8PT, BOLD</a:t>
            </a:r>
          </a:p>
        </p:txBody>
      </p:sp>
      <p:sp>
        <p:nvSpPr>
          <p:cNvPr id="12" name="Content Placeholder 14">
            <a:extLst>
              <a:ext uri="{FF2B5EF4-FFF2-40B4-BE49-F238E27FC236}">
                <a16:creationId xmlns:a16="http://schemas.microsoft.com/office/drawing/2014/main" id="{7DC97119-8034-4889-B729-0E3963B60D2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02919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3" name="Content Placeholder 14">
            <a:extLst>
              <a:ext uri="{FF2B5EF4-FFF2-40B4-BE49-F238E27FC236}">
                <a16:creationId xmlns:a16="http://schemas.microsoft.com/office/drawing/2014/main" id="{D23AA11D-C736-4A2D-A2E5-743EA4E0D94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23460" y="1487804"/>
            <a:ext cx="3817301" cy="3175634"/>
          </a:xfrm>
        </p:spPr>
        <p:txBody>
          <a:bodyPr>
            <a:noAutofit/>
          </a:bodyPr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F35FEC9F-C507-44E0-9733-E28CDFE7BE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163C27-8E43-4671-B365-14EA0963BA1C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738C384-AB8D-49FE-8C1D-D706A96FFC3A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BFB9DE-E2D5-4272-BDE8-A16CB0BE75B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3A684E-05A3-4C86-8DEF-757E5B16AE4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51BC3D8-3C80-4671-863C-DE39D1583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3437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DDD3982-D580-4A3D-87F3-05FAC777BE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1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9554EE2-145C-4A00-A0C3-DB78B30B5E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920" y="1097280"/>
            <a:ext cx="8129016" cy="8229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3322A2D-74CF-44BB-AC52-68CD17269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BD8A4B5-FD7F-4BD4-9920-59537A11C9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3460" y="2057400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F3327A1A-989A-492F-A5BD-8FFF6798933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02919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32E05A6F-19E8-420D-B3B5-112D1569BED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3460" y="2447925"/>
            <a:ext cx="3817301" cy="2215513"/>
          </a:xfrm>
        </p:spPr>
        <p:txBody>
          <a:bodyPr>
            <a:noAutofit/>
          </a:bodyPr>
          <a:lstStyle>
            <a:lvl1pPr>
              <a:defRPr sz="1400"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00FFCE-7550-434D-BD76-D557388335B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C9B604B-F7EF-4898-8EFB-0F0BAD21069E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816F0B-8C7B-440C-A643-4AD83A812C6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86AFFA-C3E0-402C-9A84-3D7DACEC2B9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98F324-FE7A-488A-B2F0-2A81FEFD2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8684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Half-content &amp;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282B79-3C71-4038-841E-9E254DD454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8D1AC19-13A5-445C-9A4B-BF895B4C6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1FE8E94-F119-4099-AB4A-12BE7BE08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1E453D5-1F29-42C6-8756-561E8838165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DCA1532B-ABC4-45A6-AB8E-E261FF7ADB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238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5FE1B3D3-5D26-4FEE-A34C-14143960C29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2919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7B0CE9-E069-4289-B438-E301E7BF27D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092CB395-A14A-4F78-8E73-550C15026290}" type="datetime5">
              <a:rPr lang="en-US" smtClean="0"/>
              <a:t>3-Sep-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55E8D0-79E9-4840-A327-1C50057CDB0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965CB-7E6D-4753-B02D-7F25A051E8B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3BD47F3-87FF-4FAA-9600-52311E05C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72654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R) Half-content &amp;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314969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406D962-A904-455A-9FF2-A3FC930F67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marR="0" lvl="0" indent="0" defTabSz="4572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noProof="0"/>
              <a:t>Proprietary and confidential — do not tribut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CE9EE84-6D78-4EA7-A0BA-54294DAD6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28716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4213A971-0458-449E-8A05-022FFCDC03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9033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5BD6757-CD83-4140-BD84-D5A87A525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9033" y="1619968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B5BC7F6D-6A69-4462-AC94-59D2440E9F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828714" y="1957741"/>
            <a:ext cx="3817301" cy="108152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A05AAF67-97A5-425C-A335-E3E63FEA46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9033" y="3237576"/>
            <a:ext cx="3817302" cy="320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HORT TITLE, CALIBRI, 16PT, BOLD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E8B20F51-F5D3-4203-A668-06DE173022A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828714" y="3575350"/>
            <a:ext cx="3817301" cy="1081522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0F40DA-11BA-4119-A3DF-906CF0C76B6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F924AB1-47DD-49F6-A694-7E5BDB6436D9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50B05A-C8C7-4666-A81D-45D749793D9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1B7959-59EF-4D8E-98FA-E41D18C1443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C38807D-50C7-4805-A814-260DA7EED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888" y="569594"/>
            <a:ext cx="3822191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74051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L) Alternate Half-content &amp;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18888" y="0"/>
            <a:ext cx="4325111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18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</a:t>
            </a:r>
            <a:br>
              <a:rPr lang="en-US"/>
            </a:br>
            <a:r>
              <a:rPr lang="en-US"/>
              <a:t>within this placeholder 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282B79-3C71-4038-841E-9E254DD454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1" y="266700"/>
            <a:ext cx="3822191" cy="26161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b="0" cap="all" spc="150" baseline="0">
                <a:solidFill>
                  <a:schemeClr val="accent3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8D1AC19-13A5-445C-9A4B-BF895B4C6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1097957"/>
            <a:ext cx="3817302" cy="390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, CALIBRI, 18PT, BOLD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11E453D5-1F29-42C6-8756-561E8838165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2919" y="1619968"/>
            <a:ext cx="3817301" cy="30456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A36B5D-E02F-4E3C-B450-0DE395C7118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34078503-8A7F-4D0F-A934-20250F73E106}" type="datetime5">
              <a:rPr lang="en-US" smtClean="0"/>
              <a:t>3-Sep-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F7514A-634C-416A-8A55-25CC608C309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912F61-0E86-4B8E-A8A9-EE52F7EC276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56FFA0-D174-4D25-A297-30B684871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3817300" cy="390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226270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88CDD25-57BC-4143-9EE9-D6CC4FB54CD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Proprietary and confidential — do not tribut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A266860-C8E8-4821-86E8-E590638BC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111624"/>
            <a:ext cx="8145780" cy="352070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9" name="Footer Placeholder 16">
            <a:extLst>
              <a:ext uri="{FF2B5EF4-FFF2-40B4-BE49-F238E27FC236}">
                <a16:creationId xmlns:a16="http://schemas.microsoft.com/office/drawing/2014/main" id="{E4AFA492-E89A-4388-9049-3994303D72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45056" y="4767263"/>
            <a:ext cx="3931921" cy="27463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11" name="Slide Number Placeholder 17">
            <a:extLst>
              <a:ext uri="{FF2B5EF4-FFF2-40B4-BE49-F238E27FC236}">
                <a16:creationId xmlns:a16="http://schemas.microsoft.com/office/drawing/2014/main" id="{198C190A-89CB-4360-830F-A354717C4D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67058" y="4767263"/>
            <a:ext cx="568102" cy="27463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B7293216-C3DE-412B-B666-D4F870D731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531511" y="4767263"/>
            <a:ext cx="787879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A1481866-D185-476C-A425-7EE14B27DE7C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95F8AC3-0E04-4802-BCC7-BE100568F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8138160" cy="390526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4727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20" r:id="rId11"/>
    <p:sldLayoutId id="2147483821" r:id="rId12"/>
    <p:sldLayoutId id="2147483838" r:id="rId13"/>
    <p:sldLayoutId id="2147483827" r:id="rId14"/>
    <p:sldLayoutId id="2147483841" r:id="rId15"/>
    <p:sldLayoutId id="2147483842" r:id="rId16"/>
    <p:sldLayoutId id="2147483843" r:id="rId17"/>
    <p:sldLayoutId id="2147483844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IN" sz="2600" b="0" kern="1200" cap="none" spc="0" baseline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571500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7429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8">
          <p15:clr>
            <a:srgbClr val="F26B43"/>
          </p15:clr>
        </p15:guide>
        <p15:guide id="3" orient="horz" pos="3060">
          <p15:clr>
            <a:srgbClr val="F26B43"/>
          </p15:clr>
        </p15:guide>
        <p15:guide id="4" orient="horz" pos="1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DA77880-E71D-47B7-82FA-3035D82089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02920" y="4820603"/>
            <a:ext cx="3057981" cy="219076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Proprietary and confidential — do not tribu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D42C3B-6191-4FCC-892C-38AF4234E0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111624"/>
            <a:ext cx="8145780" cy="352070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IN"/>
          </a:p>
        </p:txBody>
      </p:sp>
      <p:sp>
        <p:nvSpPr>
          <p:cNvPr id="9" name="Footer Placeholder 16">
            <a:extLst>
              <a:ext uri="{FF2B5EF4-FFF2-40B4-BE49-F238E27FC236}">
                <a16:creationId xmlns:a16="http://schemas.microsoft.com/office/drawing/2014/main" id="{F7B63721-E891-405F-B8DA-3025933371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45056" y="4767263"/>
            <a:ext cx="3931921" cy="27463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Enter title via "insert&gt;header and footer&gt;footer"  |  </a:t>
            </a:r>
            <a:endParaRPr lang="en-IN"/>
          </a:p>
        </p:txBody>
      </p:sp>
      <p:sp>
        <p:nvSpPr>
          <p:cNvPr id="10" name="Slide Number Placeholder 17">
            <a:extLst>
              <a:ext uri="{FF2B5EF4-FFF2-40B4-BE49-F238E27FC236}">
                <a16:creationId xmlns:a16="http://schemas.microsoft.com/office/drawing/2014/main" id="{6688A952-22A5-4C96-A919-E21A68CBE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67058" y="4767263"/>
            <a:ext cx="568102" cy="27463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04C2632E-FB75-42C2-AA5D-1AFEEFC51D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531511" y="4767263"/>
            <a:ext cx="787879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3B1FF4FB-9132-4C78-9DC5-1958F76897CD}" type="datetime5">
              <a:rPr lang="en-US" sz="1000" smtClean="0"/>
              <a:t>3-Sep-25</a:t>
            </a:fld>
            <a:endParaRPr lang="en-IN" sz="100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A5D1A639-2364-4FA1-9770-BEECBF5BA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569594"/>
            <a:ext cx="8138160" cy="390526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869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48" r:id="rId3"/>
    <p:sldLayoutId id="2147483749" r:id="rId4"/>
    <p:sldLayoutId id="2147483752" r:id="rId5"/>
    <p:sldLayoutId id="2147483753" r:id="rId6"/>
    <p:sldLayoutId id="2147483754" r:id="rId7"/>
    <p:sldLayoutId id="2147483755" r:id="rId8"/>
    <p:sldLayoutId id="2147483804" r:id="rId9"/>
    <p:sldLayoutId id="2147483805" r:id="rId10"/>
    <p:sldLayoutId id="2147483758" r:id="rId11"/>
    <p:sldLayoutId id="2147483798" r:id="rId12"/>
    <p:sldLayoutId id="2147483750" r:id="rId13"/>
    <p:sldLayoutId id="2147483751" r:id="rId14"/>
    <p:sldLayoutId id="2147483756" r:id="rId15"/>
    <p:sldLayoutId id="2147483669" r:id="rId16"/>
    <p:sldLayoutId id="2147483800" r:id="rId17"/>
    <p:sldLayoutId id="2147483801" r:id="rId18"/>
    <p:sldLayoutId id="2147483846" r:id="rId19"/>
    <p:sldLayoutId id="2147483847" r:id="rId20"/>
    <p:sldLayoutId id="2147483849" r:id="rId2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cap="none" spc="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2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5762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744538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100" b="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 userDrawn="1">
          <p15:clr>
            <a:srgbClr val="F26B43"/>
          </p15:clr>
        </p15:guide>
        <p15:guide id="2" pos="5448" userDrawn="1">
          <p15:clr>
            <a:srgbClr val="F26B43"/>
          </p15:clr>
        </p15:guide>
        <p15:guide id="3" orient="horz" pos="168" userDrawn="1">
          <p15:clr>
            <a:srgbClr val="F26B43"/>
          </p15:clr>
        </p15:guide>
        <p15:guide id="4" orient="horz" pos="30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47917" y="2804043"/>
            <a:ext cx="1710891" cy="551049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AIL LT </a:t>
            </a:r>
            <a:br>
              <a:rPr lang="en-US" sz="4000" dirty="0">
                <a:solidFill>
                  <a:schemeClr val="bg1"/>
                </a:solidFill>
                <a:latin typeface="+mn-lt"/>
              </a:rPr>
            </a:br>
            <a:br>
              <a:rPr lang="en-US" sz="900" dirty="0">
                <a:solidFill>
                  <a:schemeClr val="bg1"/>
                </a:solidFill>
                <a:latin typeface="+mn-lt"/>
              </a:rPr>
            </a:br>
            <a:r>
              <a:rPr lang="en-US" sz="1800" dirty="0">
                <a:solidFill>
                  <a:schemeClr val="bg1"/>
                </a:solidFill>
                <a:latin typeface="+mn-lt"/>
              </a:rPr>
              <a:t>Sep|25</a:t>
            </a:r>
            <a:endParaRPr lang="en-US" sz="2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447917" y="1537548"/>
            <a:ext cx="7340425" cy="1034202"/>
          </a:xfrm>
        </p:spPr>
        <p:txBody>
          <a:bodyPr>
            <a:noAutofit/>
          </a:bodyPr>
          <a:lstStyle/>
          <a:p>
            <a:r>
              <a:rPr lang="en-US" sz="2800" b="0" spc="125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Commercial insights DASHBOARD</a:t>
            </a:r>
          </a:p>
          <a:p>
            <a:r>
              <a:rPr lang="en-US" sz="1400" spc="125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BUSINESS</a:t>
            </a:r>
            <a:r>
              <a:rPr lang="en-US" sz="1400" spc="240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lang="en-US" sz="1400" spc="130" dirty="0">
                <a:solidFill>
                  <a:schemeClr val="bg1"/>
                </a:solidFill>
                <a:latin typeface="Georgia" panose="02040502050405020303" pitchFamily="18" charset="0"/>
                <a:cs typeface="Calibri"/>
              </a:rPr>
              <a:t>EFFECTIVENESS </a:t>
            </a:r>
          </a:p>
          <a:p>
            <a:endParaRPr lang="en-US" sz="150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0412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F06ACE6-2E33-40B7-84BE-7AFB25F42C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06ACE6-2E33-40B7-84BE-7AFB25F42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37738E-9DAF-0346-87BF-3DC924DE4D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2921" y="168513"/>
            <a:ext cx="5241925" cy="261610"/>
          </a:xfrm>
        </p:spPr>
        <p:txBody>
          <a:bodyPr/>
          <a:lstStyle/>
          <a:p>
            <a:r>
              <a:rPr lang="en-US" sz="1200" dirty="0"/>
              <a:t>Business effectiveness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D2FFAEB-7D78-3154-89B9-29BD7F6CA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1" y="496155"/>
            <a:ext cx="8509525" cy="390526"/>
          </a:xfrm>
        </p:spPr>
        <p:txBody>
          <a:bodyPr vert="horz"/>
          <a:lstStyle/>
          <a:p>
            <a:r>
              <a:rPr lang="en-US" sz="2400" dirty="0"/>
              <a:t>Sales Force Automation : Key Updates</a:t>
            </a:r>
          </a:p>
        </p:txBody>
      </p:sp>
      <p:pic>
        <p:nvPicPr>
          <p:cNvPr id="19" name="Picture 18" descr="A white line drawing of a computer screen&#10;&#10;Description automatically generated">
            <a:extLst>
              <a:ext uri="{FF2B5EF4-FFF2-40B4-BE49-F238E27FC236}">
                <a16:creationId xmlns:a16="http://schemas.microsoft.com/office/drawing/2014/main" id="{9DF515FC-3DB0-0550-D52C-7FC8AAA6620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435" y="2547040"/>
            <a:ext cx="223938" cy="22393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88E248BC-0D70-A4F3-FFFE-71FFCEEE85D9}"/>
              </a:ext>
            </a:extLst>
          </p:cNvPr>
          <p:cNvSpPr txBox="1"/>
          <p:nvPr/>
        </p:nvSpPr>
        <p:spPr>
          <a:xfrm>
            <a:off x="937703" y="2181163"/>
            <a:ext cx="71860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US" b="1" dirty="0">
                <a:solidFill>
                  <a:schemeClr val="accent1"/>
                </a:solidFill>
                <a:latin typeface="Georgia"/>
              </a:rPr>
              <a:t> </a:t>
            </a:r>
            <a:r>
              <a:rPr lang="en-US" sz="1400" b="1" dirty="0">
                <a:solidFill>
                  <a:schemeClr val="accent1"/>
                </a:solidFill>
                <a:latin typeface="Georgia"/>
              </a:rPr>
              <a:t>Project FMV status update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10A0B25-9500-3585-6D8A-BA1C176B01C2}"/>
              </a:ext>
            </a:extLst>
          </p:cNvPr>
          <p:cNvCxnSpPr>
            <a:cxnSpLocks/>
          </p:cNvCxnSpPr>
          <p:nvPr/>
        </p:nvCxnSpPr>
        <p:spPr>
          <a:xfrm>
            <a:off x="1002111" y="3114516"/>
            <a:ext cx="7417900" cy="0"/>
          </a:xfrm>
          <a:prstGeom prst="line">
            <a:avLst/>
          </a:prstGeom>
          <a:ln w="6350">
            <a:solidFill>
              <a:srgbClr val="787D8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995A1DF-5F6E-84A3-6D36-0F0AAD62B4E4}"/>
              </a:ext>
            </a:extLst>
          </p:cNvPr>
          <p:cNvSpPr txBox="1"/>
          <p:nvPr/>
        </p:nvSpPr>
        <p:spPr>
          <a:xfrm>
            <a:off x="990967" y="2622116"/>
            <a:ext cx="751114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56% HCPs have completed FMV Survey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000" dirty="0">
              <a:latin typeface="+mj-lt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2375454-0536-593C-5ECA-FCE32DE9401F}"/>
              </a:ext>
            </a:extLst>
          </p:cNvPr>
          <p:cNvGrpSpPr/>
          <p:nvPr/>
        </p:nvGrpSpPr>
        <p:grpSpPr>
          <a:xfrm>
            <a:off x="1043508" y="3271324"/>
            <a:ext cx="6572964" cy="895051"/>
            <a:chOff x="2094786" y="1324147"/>
            <a:chExt cx="6572964" cy="895051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7536883-A2BE-BD0A-BF79-56175E02FA69}"/>
                </a:ext>
              </a:extLst>
            </p:cNvPr>
            <p:cNvSpPr txBox="1"/>
            <p:nvPr/>
          </p:nvSpPr>
          <p:spPr>
            <a:xfrm>
              <a:off x="2104622" y="1324147"/>
              <a:ext cx="62944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8"/>
              <a:r>
                <a:rPr lang="en-US" sz="1400" b="1" dirty="0">
                  <a:solidFill>
                    <a:srgbClr val="004F71"/>
                  </a:solidFill>
                  <a:latin typeface="Georgia"/>
                </a:rPr>
                <a:t>Regular Support &amp; Monitoring 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437F02C-5901-D176-1868-51D35443BD2F}"/>
                </a:ext>
              </a:extLst>
            </p:cNvPr>
            <p:cNvSpPr txBox="1"/>
            <p:nvPr/>
          </p:nvSpPr>
          <p:spPr>
            <a:xfrm>
              <a:off x="2094786" y="1957588"/>
              <a:ext cx="657296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8"/>
              <a:endParaRPr lang="en-US" sz="1100">
                <a:solidFill>
                  <a:srgbClr val="000000"/>
                </a:solidFill>
                <a:latin typeface="Georgia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ED77D66B-E7CE-AC5A-6165-FF7E8BDF1F78}"/>
              </a:ext>
            </a:extLst>
          </p:cNvPr>
          <p:cNvSpPr txBox="1"/>
          <p:nvPr/>
        </p:nvSpPr>
        <p:spPr>
          <a:xfrm>
            <a:off x="1002111" y="1092406"/>
            <a:ext cx="7844754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US" sz="1400" b="1" dirty="0">
                <a:solidFill>
                  <a:srgbClr val="004F71"/>
                </a:solidFill>
                <a:latin typeface="Georgia"/>
              </a:rPr>
              <a:t>Input Repor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YTD Aug’25 Input distribution is 91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Major reason for less Input Distribution - Users are updating No Input option in DCR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BF958DB-8EB2-85DC-4628-333FB53E80A9}"/>
              </a:ext>
            </a:extLst>
          </p:cNvPr>
          <p:cNvCxnSpPr>
            <a:cxnSpLocks/>
          </p:cNvCxnSpPr>
          <p:nvPr/>
        </p:nvCxnSpPr>
        <p:spPr>
          <a:xfrm>
            <a:off x="1002111" y="2052184"/>
            <a:ext cx="7417900" cy="0"/>
          </a:xfrm>
          <a:prstGeom prst="line">
            <a:avLst/>
          </a:prstGeom>
          <a:ln w="6350">
            <a:solidFill>
              <a:srgbClr val="787D8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F465CE21-C037-14C4-BE6E-868F861DFE61}"/>
              </a:ext>
            </a:extLst>
          </p:cNvPr>
          <p:cNvSpPr txBox="1"/>
          <p:nvPr/>
        </p:nvSpPr>
        <p:spPr>
          <a:xfrm>
            <a:off x="1111771" y="3631963"/>
            <a:ext cx="65729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endParaRPr lang="en-US" sz="110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0" name="Picture 9" descr="A blue and black graphic design&#10;&#10;Description automatically generated with medium confidence">
            <a:extLst>
              <a:ext uri="{FF2B5EF4-FFF2-40B4-BE49-F238E27FC236}">
                <a16:creationId xmlns:a16="http://schemas.microsoft.com/office/drawing/2014/main" id="{1F21F756-703F-492D-373F-EDF1F8C0A48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99" y="1375016"/>
            <a:ext cx="465904" cy="465904"/>
          </a:xfrm>
          <a:prstGeom prst="rect">
            <a:avLst/>
          </a:prstGeom>
        </p:spPr>
      </p:pic>
      <p:pic>
        <p:nvPicPr>
          <p:cNvPr id="12" name="Picture 11" descr="A group of blue people in a circle&#10;&#10;Description automatically generated">
            <a:extLst>
              <a:ext uri="{FF2B5EF4-FFF2-40B4-BE49-F238E27FC236}">
                <a16:creationId xmlns:a16="http://schemas.microsoft.com/office/drawing/2014/main" id="{500CB06F-EC6B-CD9A-2799-45E4105D8AF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76" y="2484613"/>
            <a:ext cx="465903" cy="46590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13A4CE1-B456-6045-26E5-2C586FCFAAE5}"/>
              </a:ext>
            </a:extLst>
          </p:cNvPr>
          <p:cNvSpPr txBox="1"/>
          <p:nvPr/>
        </p:nvSpPr>
        <p:spPr>
          <a:xfrm>
            <a:off x="1010362" y="3595687"/>
            <a:ext cx="7406063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Chronically missed HCPs and overcalled HCPs data regularly shared with business for tracking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June’25 to Aug’25 – (10k) ~ 3.17% HCPs chronically missed  (Last 3 Month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June’25 to Aug’25 ~ 12.04% HCPs overcalled (Last 3 Months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dirty="0">
                <a:latin typeface="+mj-lt"/>
              </a:rPr>
              <a:t>44% HCP’s consent received</a:t>
            </a:r>
          </a:p>
          <a:p>
            <a:pPr algn="l"/>
            <a:endParaRPr lang="en-US" sz="1000" dirty="0">
              <a:latin typeface="+mj-lt"/>
            </a:endParaRPr>
          </a:p>
        </p:txBody>
      </p:sp>
      <p:pic>
        <p:nvPicPr>
          <p:cNvPr id="14" name="Picture 13" descr="A computer screen with a graph and arrow&#10;&#10;Description automatically generated">
            <a:extLst>
              <a:ext uri="{FF2B5EF4-FFF2-40B4-BE49-F238E27FC236}">
                <a16:creationId xmlns:a16="http://schemas.microsoft.com/office/drawing/2014/main" id="{35A222F6-122F-8CD3-0673-ED1138E2187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76" y="3594209"/>
            <a:ext cx="430475" cy="430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730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6542E47-BD9F-4D0A-9D81-CC3A6C429B24}"/>
              </a:ext>
            </a:extLst>
          </p:cNvPr>
          <p:cNvSpPr txBox="1"/>
          <p:nvPr/>
        </p:nvSpPr>
        <p:spPr>
          <a:xfrm>
            <a:off x="187779" y="474442"/>
            <a:ext cx="8732879" cy="718458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</a:pPr>
            <a:r>
              <a:rPr lang="en-US" altLang="en-US" sz="2400" dirty="0">
                <a:solidFill>
                  <a:srgbClr val="00B0F0"/>
                </a:solidFill>
                <a:latin typeface="+mj-lt"/>
                <a:ea typeface="+mj-ea"/>
                <a:cs typeface="+mj-cs"/>
              </a:rPr>
              <a:t>Project FMV status update</a:t>
            </a:r>
            <a:endParaRPr lang="en-US" altLang="en-US" sz="2600" dirty="0">
              <a:solidFill>
                <a:srgbClr val="00B0F0"/>
              </a:solidFill>
              <a:latin typeface="Georgia" panose="02040502050405020303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A8414F-9931-88B8-E541-C7D98ED1D7FD}"/>
              </a:ext>
            </a:extLst>
          </p:cNvPr>
          <p:cNvSpPr txBox="1"/>
          <p:nvPr/>
        </p:nvSpPr>
        <p:spPr>
          <a:xfrm>
            <a:off x="187779" y="150419"/>
            <a:ext cx="22096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solidFill>
                  <a:schemeClr val="accent1">
                    <a:lumMod val="50000"/>
                  </a:schemeClr>
                </a:solidFill>
              </a:rPr>
              <a:t>PROJECT SHIEL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58DF71-812F-2A14-D87C-64C94FB791B8}"/>
              </a:ext>
            </a:extLst>
          </p:cNvPr>
          <p:cNvSpPr txBox="1"/>
          <p:nvPr/>
        </p:nvSpPr>
        <p:spPr>
          <a:xfrm>
            <a:off x="223342" y="4377524"/>
            <a:ext cx="7743225" cy="39785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>
                <a:latin typeface="+mj-lt"/>
              </a:rPr>
              <a:t>If the FMV value (derived from the CV questionnaire) is not available for any HCP approved by the medical team, the ABM/TBM will have to obtain the CV and then PSA can be raised.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597C79C-50F5-0C28-1EAD-317101EA40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224785"/>
              </p:ext>
            </p:extLst>
          </p:nvPr>
        </p:nvGraphicFramePr>
        <p:xfrm>
          <a:off x="223342" y="1192900"/>
          <a:ext cx="7294666" cy="2665095"/>
        </p:xfrm>
        <a:graphic>
          <a:graphicData uri="http://schemas.openxmlformats.org/drawingml/2006/table">
            <a:tbl>
              <a:tblPr/>
              <a:tblGrid>
                <a:gridCol w="1937601">
                  <a:extLst>
                    <a:ext uri="{9D8B030D-6E8A-4147-A177-3AD203B41FA5}">
                      <a16:colId xmlns:a16="http://schemas.microsoft.com/office/drawing/2014/main" val="3208376166"/>
                    </a:ext>
                  </a:extLst>
                </a:gridCol>
                <a:gridCol w="1496657">
                  <a:extLst>
                    <a:ext uri="{9D8B030D-6E8A-4147-A177-3AD203B41FA5}">
                      <a16:colId xmlns:a16="http://schemas.microsoft.com/office/drawing/2014/main" val="1623581688"/>
                    </a:ext>
                  </a:extLst>
                </a:gridCol>
                <a:gridCol w="1303692">
                  <a:extLst>
                    <a:ext uri="{9D8B030D-6E8A-4147-A177-3AD203B41FA5}">
                      <a16:colId xmlns:a16="http://schemas.microsoft.com/office/drawing/2014/main" val="3464136086"/>
                    </a:ext>
                  </a:extLst>
                </a:gridCol>
                <a:gridCol w="1341416">
                  <a:extLst>
                    <a:ext uri="{9D8B030D-6E8A-4147-A177-3AD203B41FA5}">
                      <a16:colId xmlns:a16="http://schemas.microsoft.com/office/drawing/2014/main" val="1675141058"/>
                    </a:ext>
                  </a:extLst>
                </a:gridCol>
                <a:gridCol w="1215300">
                  <a:extLst>
                    <a:ext uri="{9D8B030D-6E8A-4147-A177-3AD203B41FA5}">
                      <a16:colId xmlns:a16="http://schemas.microsoft.com/office/drawing/2014/main" val="4136461087"/>
                    </a:ext>
                  </a:extLst>
                </a:gridCol>
              </a:tblGrid>
              <a:tr h="42363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vision Na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of Speak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ctual CV/FMV Statu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ending CV/FMV Statu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 Response update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24073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Nex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304452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I Prosper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5849594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I Prim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9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902351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tabolic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3122096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uroLif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286795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-Miter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0187062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I Maxim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8922971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ccin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716526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I Optim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9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87462"/>
                  </a:ext>
                </a:extLst>
              </a:tr>
              <a:tr h="2081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IL Uniqu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6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2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99596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878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020CFE4-A6E7-4242-E6E1-8810DC631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CC5AA21-5583-E76C-3BBE-60EF01A7361E}"/>
              </a:ext>
            </a:extLst>
          </p:cNvPr>
          <p:cNvSpPr txBox="1"/>
          <p:nvPr/>
        </p:nvSpPr>
        <p:spPr>
          <a:xfrm>
            <a:off x="156060" y="64448"/>
            <a:ext cx="2977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PROJECT REACH - CONSENT STATU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2922CD-CF7E-AE42-2033-E39CD57BAD76}"/>
              </a:ext>
            </a:extLst>
          </p:cNvPr>
          <p:cNvSpPr txBox="1"/>
          <p:nvPr/>
        </p:nvSpPr>
        <p:spPr>
          <a:xfrm>
            <a:off x="150342" y="376237"/>
            <a:ext cx="85848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dirty="0">
                <a:solidFill>
                  <a:schemeClr val="accent3"/>
                </a:solidFill>
                <a:latin typeface="+mj-lt"/>
              </a:rPr>
              <a:t>44% HCP require consent for digital engagement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E072150-44B4-0839-9D4A-259CC8215F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7774845"/>
              </p:ext>
            </p:extLst>
          </p:nvPr>
        </p:nvGraphicFramePr>
        <p:xfrm>
          <a:off x="211239" y="995436"/>
          <a:ext cx="7071305" cy="26784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377">
                  <a:extLst>
                    <a:ext uri="{9D8B030D-6E8A-4147-A177-3AD203B41FA5}">
                      <a16:colId xmlns:a16="http://schemas.microsoft.com/office/drawing/2014/main" val="26588060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1431365460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3435149640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1106879666"/>
                    </a:ext>
                  </a:extLst>
                </a:gridCol>
                <a:gridCol w="1438232">
                  <a:extLst>
                    <a:ext uri="{9D8B030D-6E8A-4147-A177-3AD203B41FA5}">
                      <a16:colId xmlns:a16="http://schemas.microsoft.com/office/drawing/2014/main" val="512749374"/>
                    </a:ext>
                  </a:extLst>
                </a:gridCol>
              </a:tblGrid>
              <a:tr h="37289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Division Nam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DV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# HCP Consen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Consent Requir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% Consent Require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1036590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IL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3305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277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028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AB0020"/>
                          </a:solidFill>
                          <a:effectLst/>
                          <a:latin typeface="+mj-lt"/>
                        </a:rPr>
                        <a:t>44%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499438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Next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627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20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907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705507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Maxima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189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104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085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902615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Optima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794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314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480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595284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Prima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913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778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35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925884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Prospera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596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434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62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251788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abolics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970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236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34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9209502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uroLif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237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416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821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2250932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ccines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270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908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62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571434"/>
                  </a:ext>
                </a:extLst>
              </a:tr>
              <a:tr h="23056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- Mitera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364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987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77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%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273827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038125FA-5559-2199-AFCC-0F32752ECA94}"/>
              </a:ext>
            </a:extLst>
          </p:cNvPr>
          <p:cNvSpPr txBox="1"/>
          <p:nvPr/>
        </p:nvSpPr>
        <p:spPr>
          <a:xfrm>
            <a:off x="211239" y="3843933"/>
            <a:ext cx="7071305" cy="9233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900" b="1" dirty="0">
                <a:latin typeface="+mj-lt"/>
              </a:rPr>
              <a:t>Action Plan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Training deck on email updation, Trigger and consent process provided to TBM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Weekly status report to TBM/ABM with list of HCP, where consent is required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Consolidated report to BM / NSM/Ad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Weekly report to Marketing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900" dirty="0">
                <a:latin typeface="+mj-lt"/>
              </a:rPr>
              <a:t>Monthly connect with BM to drive consent</a:t>
            </a:r>
          </a:p>
        </p:txBody>
      </p:sp>
    </p:spTree>
    <p:extLst>
      <p:ext uri="{BB962C8B-B14F-4D97-AF65-F5344CB8AC3E}">
        <p14:creationId xmlns:p14="http://schemas.microsoft.com/office/powerpoint/2010/main" val="41641148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2C8E8CD-D23C-0512-3CA6-C9870A6DE28A}"/>
              </a:ext>
            </a:extLst>
          </p:cNvPr>
          <p:cNvSpPr txBox="1"/>
          <p:nvPr/>
        </p:nvSpPr>
        <p:spPr>
          <a:xfrm>
            <a:off x="197069" y="566278"/>
            <a:ext cx="8482912" cy="629260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defRPr/>
            </a:pPr>
            <a:r>
              <a:rPr lang="en-US" sz="24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YTD Aug’25 Input distribution is 91%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52E6F37-5B63-AB40-E7AC-2F18DD4C3DA1}"/>
              </a:ext>
            </a:extLst>
          </p:cNvPr>
          <p:cNvCxnSpPr>
            <a:cxnSpLocks/>
          </p:cNvCxnSpPr>
          <p:nvPr/>
        </p:nvCxnSpPr>
        <p:spPr>
          <a:xfrm>
            <a:off x="4837530" y="1814991"/>
            <a:ext cx="0" cy="280492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BC5F6EC-168E-8062-228E-1BAB8140AB40}"/>
              </a:ext>
            </a:extLst>
          </p:cNvPr>
          <p:cNvSpPr txBox="1"/>
          <p:nvPr/>
        </p:nvSpPr>
        <p:spPr>
          <a:xfrm>
            <a:off x="156060" y="64448"/>
            <a:ext cx="22096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solidFill>
                  <a:schemeClr val="accent1">
                    <a:lumMod val="50000"/>
                  </a:schemeClr>
                </a:solidFill>
              </a:rPr>
              <a:t>INPUT DISTRIBUTION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3C6F01B-46CA-1E85-F2A3-A3FD5EEDE5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8240605"/>
              </p:ext>
            </p:extLst>
          </p:nvPr>
        </p:nvGraphicFramePr>
        <p:xfrm>
          <a:off x="197068" y="1195537"/>
          <a:ext cx="8749853" cy="2715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45514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6542E47-BD9F-4D0A-9D81-CC3A6C429B24}"/>
              </a:ext>
            </a:extLst>
          </p:cNvPr>
          <p:cNvSpPr txBox="1"/>
          <p:nvPr/>
        </p:nvSpPr>
        <p:spPr>
          <a:xfrm>
            <a:off x="187779" y="382429"/>
            <a:ext cx="8732879" cy="718458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</a:pPr>
            <a:r>
              <a:rPr lang="en-US" altLang="en-US" sz="24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# Overlapping HCPs met by more than one territories from the same divis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A8414F-9931-88B8-E541-C7D98ED1D7FD}"/>
              </a:ext>
            </a:extLst>
          </p:cNvPr>
          <p:cNvSpPr txBox="1"/>
          <p:nvPr/>
        </p:nvSpPr>
        <p:spPr>
          <a:xfrm>
            <a:off x="223342" y="38624"/>
            <a:ext cx="22096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solidFill>
                  <a:schemeClr val="accent1">
                    <a:lumMod val="50000"/>
                  </a:schemeClr>
                </a:solidFill>
              </a:rPr>
              <a:t>HCP OVERLAP</a:t>
            </a:r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0025FCD6-EF66-3C4B-A9A2-9EBAC74C94CC}"/>
              </a:ext>
            </a:extLst>
          </p:cNvPr>
          <p:cNvSpPr txBox="1"/>
          <p:nvPr/>
        </p:nvSpPr>
        <p:spPr>
          <a:xfrm>
            <a:off x="286405" y="4410780"/>
            <a:ext cx="6253187" cy="2616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ECF8822-F1D6-F72A-CBBE-F4E1D08F52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8475892"/>
              </p:ext>
            </p:extLst>
          </p:nvPr>
        </p:nvGraphicFramePr>
        <p:xfrm>
          <a:off x="286404" y="1170358"/>
          <a:ext cx="8205588" cy="3502028"/>
        </p:xfrm>
        <a:graphic>
          <a:graphicData uri="http://schemas.openxmlformats.org/drawingml/2006/table">
            <a:tbl>
              <a:tblPr/>
              <a:tblGrid>
                <a:gridCol w="1862443">
                  <a:extLst>
                    <a:ext uri="{9D8B030D-6E8A-4147-A177-3AD203B41FA5}">
                      <a16:colId xmlns:a16="http://schemas.microsoft.com/office/drawing/2014/main" val="4195932376"/>
                    </a:ext>
                  </a:extLst>
                </a:gridCol>
                <a:gridCol w="1109812">
                  <a:extLst>
                    <a:ext uri="{9D8B030D-6E8A-4147-A177-3AD203B41FA5}">
                      <a16:colId xmlns:a16="http://schemas.microsoft.com/office/drawing/2014/main" val="358930699"/>
                    </a:ext>
                  </a:extLst>
                </a:gridCol>
                <a:gridCol w="832359">
                  <a:extLst>
                    <a:ext uri="{9D8B030D-6E8A-4147-A177-3AD203B41FA5}">
                      <a16:colId xmlns:a16="http://schemas.microsoft.com/office/drawing/2014/main" val="2415079547"/>
                    </a:ext>
                  </a:extLst>
                </a:gridCol>
                <a:gridCol w="867438">
                  <a:extLst>
                    <a:ext uri="{9D8B030D-6E8A-4147-A177-3AD203B41FA5}">
                      <a16:colId xmlns:a16="http://schemas.microsoft.com/office/drawing/2014/main" val="1345195751"/>
                    </a:ext>
                  </a:extLst>
                </a:gridCol>
                <a:gridCol w="867438">
                  <a:extLst>
                    <a:ext uri="{9D8B030D-6E8A-4147-A177-3AD203B41FA5}">
                      <a16:colId xmlns:a16="http://schemas.microsoft.com/office/drawing/2014/main" val="3208569464"/>
                    </a:ext>
                  </a:extLst>
                </a:gridCol>
                <a:gridCol w="867438">
                  <a:extLst>
                    <a:ext uri="{9D8B030D-6E8A-4147-A177-3AD203B41FA5}">
                      <a16:colId xmlns:a16="http://schemas.microsoft.com/office/drawing/2014/main" val="159990307"/>
                    </a:ext>
                  </a:extLst>
                </a:gridCol>
                <a:gridCol w="867438">
                  <a:extLst>
                    <a:ext uri="{9D8B030D-6E8A-4147-A177-3AD203B41FA5}">
                      <a16:colId xmlns:a16="http://schemas.microsoft.com/office/drawing/2014/main" val="3909952064"/>
                    </a:ext>
                  </a:extLst>
                </a:gridCol>
                <a:gridCol w="931222">
                  <a:extLst>
                    <a:ext uri="{9D8B030D-6E8A-4147-A177-3AD203B41FA5}">
                      <a16:colId xmlns:a16="http://schemas.microsoft.com/office/drawing/2014/main" val="1829289536"/>
                    </a:ext>
                  </a:extLst>
                </a:gridCol>
              </a:tblGrid>
              <a:tr h="24929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CD Name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Division Name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erritory 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erritory 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erritory 3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erritory 4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erritory 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Grand Total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0611974"/>
                  </a:ext>
                </a:extLst>
              </a:tr>
              <a:tr h="2611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uj Mehr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Next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5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7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3520124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roLif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6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5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1704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ccines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29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1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94163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nuj Mehra Total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064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6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273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665160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shraj Madan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 Maxim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0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69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786811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 Optim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94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9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19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2702177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 Prim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0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2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686205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 Prosper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5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6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280333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rshraj Madan Total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405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85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1007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182279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thwish Kumar Banerji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bolics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2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83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9943997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- Mitera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83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9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5066529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ithwish Kumar Banerji Total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3108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12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6426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936435"/>
                  </a:ext>
                </a:extLst>
              </a:tr>
              <a:tr h="2492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d Total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81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4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235</a:t>
                      </a:r>
                    </a:p>
                  </a:txBody>
                  <a:tcPr marL="9501" marR="9501" marT="95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C4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3384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485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B8B14BFB-5EBF-DECB-AD8A-347AD784ADB6}"/>
              </a:ext>
            </a:extLst>
          </p:cNvPr>
          <p:cNvSpPr txBox="1"/>
          <p:nvPr/>
        </p:nvSpPr>
        <p:spPr>
          <a:xfrm>
            <a:off x="70945" y="416030"/>
            <a:ext cx="92070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B0F0"/>
                </a:solidFill>
                <a:latin typeface="+mj-lt"/>
              </a:rPr>
              <a:t>Missed HCPs – 3.17 % of doctors missed in the last 3 months (June’25 - Aug’25) 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CDB25D3-B895-E476-76CD-360C91F890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171164"/>
              </p:ext>
            </p:extLst>
          </p:nvPr>
        </p:nvGraphicFramePr>
        <p:xfrm>
          <a:off x="283532" y="980185"/>
          <a:ext cx="3700639" cy="3126445"/>
        </p:xfrm>
        <a:graphic>
          <a:graphicData uri="http://schemas.openxmlformats.org/drawingml/2006/table">
            <a:tbl>
              <a:tblPr/>
              <a:tblGrid>
                <a:gridCol w="851400">
                  <a:extLst>
                    <a:ext uri="{9D8B030D-6E8A-4147-A177-3AD203B41FA5}">
                      <a16:colId xmlns:a16="http://schemas.microsoft.com/office/drawing/2014/main" val="3813408424"/>
                    </a:ext>
                  </a:extLst>
                </a:gridCol>
                <a:gridCol w="965394">
                  <a:extLst>
                    <a:ext uri="{9D8B030D-6E8A-4147-A177-3AD203B41FA5}">
                      <a16:colId xmlns:a16="http://schemas.microsoft.com/office/drawing/2014/main" val="738958140"/>
                    </a:ext>
                  </a:extLst>
                </a:gridCol>
                <a:gridCol w="1043862">
                  <a:extLst>
                    <a:ext uri="{9D8B030D-6E8A-4147-A177-3AD203B41FA5}">
                      <a16:colId xmlns:a16="http://schemas.microsoft.com/office/drawing/2014/main" val="3128832832"/>
                    </a:ext>
                  </a:extLst>
                </a:gridCol>
                <a:gridCol w="839983">
                  <a:extLst>
                    <a:ext uri="{9D8B030D-6E8A-4147-A177-3AD203B41FA5}">
                      <a16:colId xmlns:a16="http://schemas.microsoft.com/office/drawing/2014/main" val="388158382"/>
                    </a:ext>
                  </a:extLst>
                </a:gridCol>
              </a:tblGrid>
              <a:tr h="223854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                       #HCPs Missed in last 3 Month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170464"/>
                  </a:ext>
                </a:extLst>
              </a:tr>
              <a:tr h="44019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ivis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#DV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#HCPs Miss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% HCP Miss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971589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Nex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,24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9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9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3616128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Max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,69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3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1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0351434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Opt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,69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6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8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6291507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Pri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,42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7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2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4856338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sper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,19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7791663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abolic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,46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7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656893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uroLif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,7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6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134569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ccin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,58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0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4064945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-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ter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,64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8678502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PD-Nep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05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0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750713"/>
                  </a:ext>
                </a:extLst>
              </a:tr>
              <a:tr h="22385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4,12,7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13,09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3.1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264330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564F733-C758-F1D3-AC5F-596AB2E4B19E}"/>
              </a:ext>
            </a:extLst>
          </p:cNvPr>
          <p:cNvSpPr/>
          <p:nvPr/>
        </p:nvSpPr>
        <p:spPr>
          <a:xfrm>
            <a:off x="283532" y="4238285"/>
            <a:ext cx="8703916" cy="2746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List of missed HCP in last 3 months shared with Busines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4295D9-7D25-29B7-4BB5-A094AC9BEFBA}"/>
              </a:ext>
            </a:extLst>
          </p:cNvPr>
          <p:cNvSpPr txBox="1"/>
          <p:nvPr/>
        </p:nvSpPr>
        <p:spPr>
          <a:xfrm>
            <a:off x="156060" y="64448"/>
            <a:ext cx="22096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MISSED HCP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7158596"/>
              </p:ext>
            </p:extLst>
          </p:nvPr>
        </p:nvGraphicFramePr>
        <p:xfrm>
          <a:off x="4090306" y="980185"/>
          <a:ext cx="4897141" cy="3126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16515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6542E47-BD9F-4D0A-9D81-CC3A6C429B24}"/>
              </a:ext>
            </a:extLst>
          </p:cNvPr>
          <p:cNvSpPr txBox="1"/>
          <p:nvPr/>
        </p:nvSpPr>
        <p:spPr>
          <a:xfrm>
            <a:off x="57415" y="87364"/>
            <a:ext cx="8637294" cy="64066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defRPr/>
            </a:pPr>
            <a:endParaRPr lang="en-US" sz="2400" dirty="0">
              <a:solidFill>
                <a:schemeClr val="accent3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23F345-38A0-58D8-14F1-A2B07D4C5434}"/>
              </a:ext>
            </a:extLst>
          </p:cNvPr>
          <p:cNvSpPr txBox="1"/>
          <p:nvPr/>
        </p:nvSpPr>
        <p:spPr>
          <a:xfrm>
            <a:off x="205121" y="408281"/>
            <a:ext cx="8728821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defRPr/>
            </a:pPr>
            <a:r>
              <a:rPr lang="en-US" sz="2400" dirty="0">
                <a:solidFill>
                  <a:srgbClr val="00B0F0"/>
                </a:solidFill>
                <a:latin typeface="+mj-lt"/>
              </a:rPr>
              <a:t>12.04% HCPs overcalled</a:t>
            </a:r>
            <a:r>
              <a:rPr lang="en-US" sz="2400" baseline="30000" dirty="0">
                <a:solidFill>
                  <a:srgbClr val="00B0F0"/>
                </a:solidFill>
                <a:latin typeface="+mj-lt"/>
              </a:rPr>
              <a:t>1</a:t>
            </a:r>
            <a:r>
              <a:rPr lang="en-US" sz="2400" dirty="0">
                <a:solidFill>
                  <a:srgbClr val="00B0F0"/>
                </a:solidFill>
                <a:latin typeface="+mj-lt"/>
              </a:rPr>
              <a:t> in past 3 months, marginal decrease in #HCPs overcalled (June’25 to Aug’25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1397E0-E318-B18F-5461-F8897B828DBA}"/>
              </a:ext>
            </a:extLst>
          </p:cNvPr>
          <p:cNvSpPr txBox="1"/>
          <p:nvPr/>
        </p:nvSpPr>
        <p:spPr>
          <a:xfrm>
            <a:off x="205120" y="99918"/>
            <a:ext cx="21681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OVERCALLED HCPs</a:t>
            </a: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605CD2BF-AA87-AA88-9A9C-D18478B4343F}"/>
              </a:ext>
            </a:extLst>
          </p:cNvPr>
          <p:cNvSpPr txBox="1"/>
          <p:nvPr/>
        </p:nvSpPr>
        <p:spPr>
          <a:xfrm>
            <a:off x="296963" y="3845440"/>
            <a:ext cx="8579022" cy="2623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HCPs called &gt;1.3X of desired frequency in the 3 month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149148"/>
              </p:ext>
            </p:extLst>
          </p:nvPr>
        </p:nvGraphicFramePr>
        <p:xfrm>
          <a:off x="296963" y="1276609"/>
          <a:ext cx="8579022" cy="2470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67239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6716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Green-Yellow_Dec 2020">
  <a:themeElements>
    <a:clrScheme name="Abbott brand colors Green-Yellow opt2">
      <a:dk1>
        <a:srgbClr val="FFFFFF"/>
      </a:dk1>
      <a:lt1>
        <a:srgbClr val="FFFFFF"/>
      </a:lt1>
      <a:dk2>
        <a:srgbClr val="009CDE"/>
      </a:dk2>
      <a:lt2>
        <a:srgbClr val="D9D9D6"/>
      </a:lt2>
      <a:accent1>
        <a:srgbClr val="64CCC9"/>
      </a:accent1>
      <a:accent2>
        <a:srgbClr val="004F71"/>
      </a:accent2>
      <a:accent3>
        <a:srgbClr val="FFD100"/>
      </a:accent3>
      <a:accent4>
        <a:srgbClr val="AA0061"/>
      </a:accent4>
      <a:accent5>
        <a:srgbClr val="470A68"/>
      </a:accent5>
      <a:accent6>
        <a:srgbClr val="D9D9D6"/>
      </a:accent6>
      <a:hlink>
        <a:srgbClr val="004F71"/>
      </a:hlink>
      <a:folHlink>
        <a:srgbClr val="63666A"/>
      </a:folHlink>
    </a:clrScheme>
    <a:fontScheme name="Abbot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Dec_2020_ABT_Alt_Gradient_Green-Yellow  -  Read-Only" id="{4E049CC5-C6A9-4A5D-8F7E-3FC4FC287AA6}" vid="{946B8B87-ABB8-4802-8F90-F185A508A533}"/>
    </a:ext>
  </a:extLst>
</a:theme>
</file>

<file path=ppt/theme/theme2.xml><?xml version="1.0" encoding="utf-8"?>
<a:theme xmlns:a="http://schemas.openxmlformats.org/drawingml/2006/main" name="PPT Basic White_Dec 2020">
  <a:themeElements>
    <a:clrScheme name="Abbott Brand Colors">
      <a:dk1>
        <a:srgbClr val="000000"/>
      </a:dk1>
      <a:lt1>
        <a:sysClr val="window" lastClr="FFFFFF"/>
      </a:lt1>
      <a:dk2>
        <a:srgbClr val="E4002B"/>
      </a:dk2>
      <a:lt2>
        <a:srgbClr val="D9D9D6"/>
      </a:lt2>
      <a:accent1>
        <a:srgbClr val="004F71"/>
      </a:accent1>
      <a:accent2>
        <a:srgbClr val="64CCC9"/>
      </a:accent2>
      <a:accent3>
        <a:srgbClr val="009CDE"/>
      </a:accent3>
      <a:accent4>
        <a:srgbClr val="FFD100"/>
      </a:accent4>
      <a:accent5>
        <a:srgbClr val="470A68"/>
      </a:accent5>
      <a:accent6>
        <a:srgbClr val="00B140"/>
      </a:accent6>
      <a:hlink>
        <a:srgbClr val="009CDE"/>
      </a:hlink>
      <a:folHlink>
        <a:srgbClr val="63666A"/>
      </a:folHlink>
    </a:clrScheme>
    <a:fontScheme name="Abbot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Dec_2020_ABT_Alt_Gradient_Green-Yellow  -  Read-Only" id="{4E049CC5-C6A9-4A5D-8F7E-3FC4FC287AA6}" vid="{A06E9493-C183-488A-9B8F-EB961E0FD1B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Metadata/LabelInfo.xml><?xml version="1.0" encoding="utf-8"?>
<clbl:labelList xmlns:clbl="http://schemas.microsoft.com/office/2020/mipLabelMetadata">
  <clbl:label id="{5b268d57-2a6f-4e04-b0de-6938583d5ebc}" enabled="0" method="" siteId="{5b268d57-2a6f-4e04-b0de-6938583d5eb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PT_16x9_Dec_2020_ABT_Alt_Gradient_Green-Yellow</Template>
  <TotalTime>2885</TotalTime>
  <Words>739</Words>
  <Application>Microsoft Office PowerPoint</Application>
  <PresentationFormat>On-screen Show (16:9)</PresentationFormat>
  <Paragraphs>335</Paragraphs>
  <Slides>9</Slides>
  <Notes>6</Notes>
  <HiddenSlides>3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ptos</vt:lpstr>
      <vt:lpstr>Arial</vt:lpstr>
      <vt:lpstr>Calibri</vt:lpstr>
      <vt:lpstr>Georgia</vt:lpstr>
      <vt:lpstr>PPT Green-Yellow_Dec 2020</vt:lpstr>
      <vt:lpstr>PPT Basic White_Dec 2020</vt:lpstr>
      <vt:lpstr>think-cell Slide</vt:lpstr>
      <vt:lpstr>AIL LT   Sep|25</vt:lpstr>
      <vt:lpstr>Sales Force Automation : Key Upda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ffice 365 Apps for Enterprise 2008 - CAG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LIT Ex COM</dc:title>
  <dc:creator>Jadhav, Abhijit</dc:creator>
  <cp:lastModifiedBy>Chaurasia, Needhi</cp:lastModifiedBy>
  <cp:revision>15</cp:revision>
  <cp:lastPrinted>2023-02-07T11:45:57Z</cp:lastPrinted>
  <dcterms:created xsi:type="dcterms:W3CDTF">2022-09-12T10:45:03Z</dcterms:created>
  <dcterms:modified xsi:type="dcterms:W3CDTF">2025-09-03T11:33:41Z</dcterms:modified>
</cp:coreProperties>
</file>